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8"/>
  </p:notesMasterIdLst>
  <p:sldIdLst>
    <p:sldId id="308" r:id="rId5"/>
    <p:sldId id="2147138091" r:id="rId6"/>
    <p:sldId id="2147138223" r:id="rId7"/>
    <p:sldId id="275" r:id="rId8"/>
    <p:sldId id="2076137121" r:id="rId9"/>
    <p:sldId id="2147138195" r:id="rId10"/>
    <p:sldId id="344" r:id="rId11"/>
    <p:sldId id="2147138230" r:id="rId12"/>
    <p:sldId id="2147138228" r:id="rId13"/>
    <p:sldId id="2147138229" r:id="rId14"/>
    <p:sldId id="268" r:id="rId15"/>
    <p:sldId id="2147138224" r:id="rId16"/>
    <p:sldId id="214713822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9D8547F-B3C6-41B7-AC15-B21357C26C2E}">
          <p14:sldIdLst>
            <p14:sldId id="308"/>
            <p14:sldId id="2147138091"/>
            <p14:sldId id="2147138223"/>
            <p14:sldId id="275"/>
            <p14:sldId id="2076137121"/>
            <p14:sldId id="2147138195"/>
            <p14:sldId id="344"/>
            <p14:sldId id="2147138230"/>
            <p14:sldId id="2147138228"/>
            <p14:sldId id="2147138229"/>
          </p14:sldIdLst>
        </p14:section>
        <p14:section name="Closing slide" id="{11C5BCDD-05AC-405B-8582-D9D1C38F3D19}">
          <p14:sldIdLst>
            <p14:sldId id="268"/>
            <p14:sldId id="2147138224"/>
            <p14:sldId id="214713822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EB81"/>
    <a:srgbClr val="E6DCFF"/>
    <a:srgbClr val="0041F0"/>
    <a:srgbClr val="DCAFFF"/>
    <a:srgbClr val="FF50A0"/>
    <a:srgbClr val="FF3246"/>
    <a:srgbClr val="00FFFF"/>
    <a:srgbClr val="D4D4D4"/>
    <a:srgbClr val="BE8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2C7BF4-86F5-CD49-A8E8-3A77A5D2BB22}" v="1344" dt="2024-06-17T13:24:04.95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382" autoAdjust="0"/>
    <p:restoredTop sz="92789" autoAdjust="0"/>
  </p:normalViewPr>
  <p:slideViewPr>
    <p:cSldViewPr snapToGrid="0" showGuides="1">
      <p:cViewPr varScale="1">
        <p:scale>
          <a:sx n="107" d="100"/>
          <a:sy n="107" d="100"/>
        </p:scale>
        <p:origin x="752" y="32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ehrli, Stefan" userId="3f36891e-f853-43e7-bcbc-2879a2513833" providerId="ADAL" clId="{262C7BF4-86F5-CD49-A8E8-3A77A5D2BB22}"/>
    <pc:docChg chg="undo custSel addSld delSld modSld sldOrd addSection delSection modSection">
      <pc:chgData name="Oehrli, Stefan" userId="3f36891e-f853-43e7-bcbc-2879a2513833" providerId="ADAL" clId="{262C7BF4-86F5-CD49-A8E8-3A77A5D2BB22}" dt="2024-06-17T13:24:04.954" v="3901"/>
      <pc:docMkLst>
        <pc:docMk/>
      </pc:docMkLst>
      <pc:sldChg chg="modSp mod">
        <pc:chgData name="Oehrli, Stefan" userId="3f36891e-f853-43e7-bcbc-2879a2513833" providerId="ADAL" clId="{262C7BF4-86F5-CD49-A8E8-3A77A5D2BB22}" dt="2024-06-16T22:19:55.466" v="39" actId="20577"/>
        <pc:sldMkLst>
          <pc:docMk/>
          <pc:sldMk cId="217193527" sldId="308"/>
        </pc:sldMkLst>
        <pc:spChg chg="mod">
          <ac:chgData name="Oehrli, Stefan" userId="3f36891e-f853-43e7-bcbc-2879a2513833" providerId="ADAL" clId="{262C7BF4-86F5-CD49-A8E8-3A77A5D2BB22}" dt="2024-06-16T17:27:10.043" v="4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262C7BF4-86F5-CD49-A8E8-3A77A5D2BB22}" dt="2024-06-16T22:19:55.466" v="39" actId="20577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262C7BF4-86F5-CD49-A8E8-3A77A5D2BB22}" dt="2024-06-17T08:42:21.549" v="1142"/>
        <pc:sldMkLst>
          <pc:docMk/>
          <pc:sldMk cId="988469291" sldId="332"/>
        </pc:sldMkLst>
        <pc:spChg chg="mod">
          <ac:chgData name="Oehrli, Stefan" userId="3f36891e-f853-43e7-bcbc-2879a2513833" providerId="ADAL" clId="{262C7BF4-86F5-CD49-A8E8-3A77A5D2BB22}" dt="2024-06-17T08:42:21.549" v="1142"/>
          <ac:spMkLst>
            <pc:docMk/>
            <pc:sldMk cId="988469291" sldId="332"/>
            <ac:spMk id="2" creationId="{6B7D050A-F3DB-4B0A-8C3E-8F4D3EE9CC12}"/>
          </ac:spMkLst>
        </pc:spChg>
      </pc:sldChg>
      <pc:sldChg chg="modSp mod">
        <pc:chgData name="Oehrli, Stefan" userId="3f36891e-f853-43e7-bcbc-2879a2513833" providerId="ADAL" clId="{262C7BF4-86F5-CD49-A8E8-3A77A5D2BB22}" dt="2024-06-17T05:23:42" v="36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262C7BF4-86F5-CD49-A8E8-3A77A5D2BB22}" dt="2024-06-17T04:54:15.091" v="138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262C7BF4-86F5-CD49-A8E8-3A77A5D2BB22}" dt="2024-06-17T04:54:24.893" v="152" actId="20577"/>
          <ac:spMkLst>
            <pc:docMk/>
            <pc:sldMk cId="3447450657" sldId="344"/>
            <ac:spMk id="3" creationId="{71629877-83F9-C3AD-1532-9D122387E409}"/>
          </ac:spMkLst>
        </pc:spChg>
        <pc:spChg chg="mod">
          <ac:chgData name="Oehrli, Stefan" userId="3f36891e-f853-43e7-bcbc-2879a2513833" providerId="ADAL" clId="{262C7BF4-86F5-CD49-A8E8-3A77A5D2BB22}" dt="2024-06-17T05:23:42" v="360" actId="20577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262C7BF4-86F5-CD49-A8E8-3A77A5D2BB22}" dt="2024-06-17T05:23:31.353" v="351" actId="20577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262C7BF4-86F5-CD49-A8E8-3A77A5D2BB22}" dt="2024-06-17T04:57:48.475" v="205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262C7BF4-86F5-CD49-A8E8-3A77A5D2BB22}" dt="2024-06-17T05:00:13.778" v="229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262C7BF4-86F5-CD49-A8E8-3A77A5D2BB22}" dt="2024-06-17T05:00:12.722" v="228" actId="21"/>
          <ac:spMkLst>
            <pc:docMk/>
            <pc:sldMk cId="3447450657" sldId="344"/>
            <ac:spMk id="10" creationId="{2510B16E-5797-8D5D-1A8B-7AEBFCCACEC2}"/>
          </ac:spMkLst>
        </pc:spChg>
        <pc:spChg chg="mod">
          <ac:chgData name="Oehrli, Stefan" userId="3f36891e-f853-43e7-bcbc-2879a2513833" providerId="ADAL" clId="{262C7BF4-86F5-CD49-A8E8-3A77A5D2BB22}" dt="2024-06-17T04:57:54.087" v="208" actId="20577"/>
          <ac:spMkLst>
            <pc:docMk/>
            <pc:sldMk cId="3447450657" sldId="344"/>
            <ac:spMk id="11" creationId="{5E22572D-86FE-3D93-8F31-CF570714B8BB}"/>
          </ac:spMkLst>
        </pc:spChg>
      </pc:sldChg>
      <pc:sldChg chg="modSp mod">
        <pc:chgData name="Oehrli, Stefan" userId="3f36891e-f853-43e7-bcbc-2879a2513833" providerId="ADAL" clId="{262C7BF4-86F5-CD49-A8E8-3A77A5D2BB22}" dt="2024-06-17T04:53:04.416" v="134" actId="20577"/>
        <pc:sldMkLst>
          <pc:docMk/>
          <pc:sldMk cId="809413988" sldId="461"/>
        </pc:sldMkLst>
        <pc:spChg chg="mod">
          <ac:chgData name="Oehrli, Stefan" userId="3f36891e-f853-43e7-bcbc-2879a2513833" providerId="ADAL" clId="{262C7BF4-86F5-CD49-A8E8-3A77A5D2BB22}" dt="2024-06-17T04:53:04.416" v="134" actId="20577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262C7BF4-86F5-CD49-A8E8-3A77A5D2BB22}" dt="2024-06-17T09:31:27.240" v="2043"/>
        <pc:sldMkLst>
          <pc:docMk/>
          <pc:sldMk cId="1153880397" sldId="470"/>
        </pc:sldMkLst>
        <pc:spChg chg="mod">
          <ac:chgData name="Oehrli, Stefan" userId="3f36891e-f853-43e7-bcbc-2879a2513833" providerId="ADAL" clId="{262C7BF4-86F5-CD49-A8E8-3A77A5D2BB22}" dt="2024-06-17T09:30:42.910" v="2035" actId="10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262C7BF4-86F5-CD49-A8E8-3A77A5D2BB22}" dt="2024-06-17T09:22:56.720" v="1700" actId="20577"/>
          <ac:spMkLst>
            <pc:docMk/>
            <pc:sldMk cId="1153880397" sldId="470"/>
            <ac:spMk id="13" creationId="{9EEEFBE2-D58B-0304-1EEF-C6A93EAE2FDB}"/>
          </ac:spMkLst>
        </pc:spChg>
      </pc:sldChg>
      <pc:sldChg chg="addSp modSp mod ord">
        <pc:chgData name="Oehrli, Stefan" userId="3f36891e-f853-43e7-bcbc-2879a2513833" providerId="ADAL" clId="{262C7BF4-86F5-CD49-A8E8-3A77A5D2BB22}" dt="2024-06-17T13:20:06.141" v="3855" actId="20578"/>
        <pc:sldMkLst>
          <pc:docMk/>
          <pc:sldMk cId="2241462360" sldId="2147138091"/>
        </pc:sldMkLst>
        <pc:picChg chg="add mod">
          <ac:chgData name="Oehrli, Stefan" userId="3f36891e-f853-43e7-bcbc-2879a2513833" providerId="ADAL" clId="{262C7BF4-86F5-CD49-A8E8-3A77A5D2BB22}" dt="2024-06-16T17:30:29.617" v="27" actId="1076"/>
          <ac:picMkLst>
            <pc:docMk/>
            <pc:sldMk cId="2241462360" sldId="2147138091"/>
            <ac:picMk id="5" creationId="{0AB5F226-A75D-71B2-6785-E08CD312BE65}"/>
          </ac:picMkLst>
        </pc:picChg>
      </pc:sldChg>
      <pc:sldChg chg="del">
        <pc:chgData name="Oehrli, Stefan" userId="3f36891e-f853-43e7-bcbc-2879a2513833" providerId="ADAL" clId="{262C7BF4-86F5-CD49-A8E8-3A77A5D2BB22}" dt="2024-06-16T22:20:45.160" v="66" actId="2696"/>
        <pc:sldMkLst>
          <pc:docMk/>
          <pc:sldMk cId="1940722524" sldId="2147138093"/>
        </pc:sldMkLst>
      </pc:sldChg>
      <pc:sldChg chg="del">
        <pc:chgData name="Oehrli, Stefan" userId="3f36891e-f853-43e7-bcbc-2879a2513833" providerId="ADAL" clId="{262C7BF4-86F5-CD49-A8E8-3A77A5D2BB22}" dt="2024-06-16T22:20:28.424" v="48" actId="2696"/>
        <pc:sldMkLst>
          <pc:docMk/>
          <pc:sldMk cId="2229416787" sldId="2147138095"/>
        </pc:sldMkLst>
      </pc:sldChg>
      <pc:sldChg chg="del">
        <pc:chgData name="Oehrli, Stefan" userId="3f36891e-f853-43e7-bcbc-2879a2513833" providerId="ADAL" clId="{262C7BF4-86F5-CD49-A8E8-3A77A5D2BB22}" dt="2024-06-16T22:20:32.593" v="51" actId="2696"/>
        <pc:sldMkLst>
          <pc:docMk/>
          <pc:sldMk cId="3058612435" sldId="2147138096"/>
        </pc:sldMkLst>
      </pc:sldChg>
      <pc:sldChg chg="del">
        <pc:chgData name="Oehrli, Stefan" userId="3f36891e-f853-43e7-bcbc-2879a2513833" providerId="ADAL" clId="{262C7BF4-86F5-CD49-A8E8-3A77A5D2BB22}" dt="2024-06-16T22:20:38.132" v="60" actId="2696"/>
        <pc:sldMkLst>
          <pc:docMk/>
          <pc:sldMk cId="379875072" sldId="2147138097"/>
        </pc:sldMkLst>
      </pc:sldChg>
      <pc:sldChg chg="del">
        <pc:chgData name="Oehrli, Stefan" userId="3f36891e-f853-43e7-bcbc-2879a2513833" providerId="ADAL" clId="{262C7BF4-86F5-CD49-A8E8-3A77A5D2BB22}" dt="2024-06-16T22:20:41.012" v="62" actId="2696"/>
        <pc:sldMkLst>
          <pc:docMk/>
          <pc:sldMk cId="3474791128" sldId="2147138098"/>
        </pc:sldMkLst>
      </pc:sldChg>
      <pc:sldChg chg="del mod ord modShow">
        <pc:chgData name="Oehrli, Stefan" userId="3f36891e-f853-43e7-bcbc-2879a2513833" providerId="ADAL" clId="{262C7BF4-86F5-CD49-A8E8-3A77A5D2BB22}" dt="2024-06-17T05:28:53.678" v="370" actId="2696"/>
        <pc:sldMkLst>
          <pc:docMk/>
          <pc:sldMk cId="3843352936" sldId="2147138100"/>
        </pc:sldMkLst>
      </pc:sldChg>
      <pc:sldChg chg="modSp mod ord modAnim">
        <pc:chgData name="Oehrli, Stefan" userId="3f36891e-f853-43e7-bcbc-2879a2513833" providerId="ADAL" clId="{262C7BF4-86F5-CD49-A8E8-3A77A5D2BB22}" dt="2024-06-17T13:19:55.214" v="3854"/>
        <pc:sldMkLst>
          <pc:docMk/>
          <pc:sldMk cId="288964143" sldId="2147138101"/>
        </pc:sldMkLst>
        <pc:spChg chg="mod">
          <ac:chgData name="Oehrli, Stefan" userId="3f36891e-f853-43e7-bcbc-2879a2513833" providerId="ADAL" clId="{262C7BF4-86F5-CD49-A8E8-3A77A5D2BB22}" dt="2024-06-17T13:15:27.194" v="3521"/>
          <ac:spMkLst>
            <pc:docMk/>
            <pc:sldMk cId="288964143" sldId="2147138101"/>
            <ac:spMk id="7" creationId="{28248BDE-A26B-54FA-B253-9CF5A732A84D}"/>
          </ac:spMkLst>
        </pc:spChg>
        <pc:spChg chg="mod">
          <ac:chgData name="Oehrli, Stefan" userId="3f36891e-f853-43e7-bcbc-2879a2513833" providerId="ADAL" clId="{262C7BF4-86F5-CD49-A8E8-3A77A5D2BB22}" dt="2024-06-17T13:19:34.601" v="3851" actId="20577"/>
          <ac:spMkLst>
            <pc:docMk/>
            <pc:sldMk cId="288964143" sldId="2147138101"/>
            <ac:spMk id="8" creationId="{5EE79F3A-A0A9-701D-5D8B-7F8B130B5732}"/>
          </ac:spMkLst>
        </pc:spChg>
        <pc:spChg chg="mod">
          <ac:chgData name="Oehrli, Stefan" userId="3f36891e-f853-43e7-bcbc-2879a2513833" providerId="ADAL" clId="{262C7BF4-86F5-CD49-A8E8-3A77A5D2BB22}" dt="2024-06-17T13:17:20.694" v="3693"/>
          <ac:spMkLst>
            <pc:docMk/>
            <pc:sldMk cId="288964143" sldId="2147138101"/>
            <ac:spMk id="9" creationId="{8E05A5F2-330F-6A6B-804D-BBD24C560B2E}"/>
          </ac:spMkLst>
        </pc:spChg>
      </pc:sldChg>
      <pc:sldChg chg="del">
        <pc:chgData name="Oehrli, Stefan" userId="3f36891e-f853-43e7-bcbc-2879a2513833" providerId="ADAL" clId="{262C7BF4-86F5-CD49-A8E8-3A77A5D2BB22}" dt="2024-06-16T22:20:38.112" v="58" actId="2696"/>
        <pc:sldMkLst>
          <pc:docMk/>
          <pc:sldMk cId="3530393607" sldId="2147138102"/>
        </pc:sldMkLst>
      </pc:sldChg>
      <pc:sldChg chg="addSp delSp modSp mod modClrScheme modAnim chgLayout">
        <pc:chgData name="Oehrli, Stefan" userId="3f36891e-f853-43e7-bcbc-2879a2513833" providerId="ADAL" clId="{262C7BF4-86F5-CD49-A8E8-3A77A5D2BB22}" dt="2024-06-17T08:49:41.320" v="1181"/>
        <pc:sldMkLst>
          <pc:docMk/>
          <pc:sldMk cId="2475241319" sldId="2147138105"/>
        </pc:sldMkLst>
        <pc:spChg chg="add del mod ord">
          <ac:chgData name="Oehrli, Stefan" userId="3f36891e-f853-43e7-bcbc-2879a2513833" providerId="ADAL" clId="{262C7BF4-86F5-CD49-A8E8-3A77A5D2BB22}" dt="2024-06-17T08:46:40.672" v="1147"/>
          <ac:spMkLst>
            <pc:docMk/>
            <pc:sldMk cId="2475241319" sldId="2147138105"/>
            <ac:spMk id="2" creationId="{07E06C93-D4FC-770F-0C79-F6EE66CEE3D4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5" creationId="{3D7F45EE-BA73-A422-CE1F-D4DC06209B58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7" creationId="{89044E24-A45A-7A0B-F3B8-C24968E77FD6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8" creationId="{11095482-1C48-477A-8085-00A480960AB0}"/>
          </ac:spMkLst>
        </pc:spChg>
        <pc:spChg chg="mod ord">
          <ac:chgData name="Oehrli, Stefan" userId="3f36891e-f853-43e7-bcbc-2879a2513833" providerId="ADAL" clId="{262C7BF4-86F5-CD49-A8E8-3A77A5D2BB22}" dt="2024-06-17T08:49:19.893" v="1178" actId="20577"/>
          <ac:spMkLst>
            <pc:docMk/>
            <pc:sldMk cId="2475241319" sldId="2147138105"/>
            <ac:spMk id="9" creationId="{C7347C64-0348-3831-8B5A-25F65080DF73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262C7BF4-86F5-CD49-A8E8-3A77A5D2BB22}" dt="2024-06-17T08:49:16.032" v="1176" actId="1076"/>
          <ac:picMkLst>
            <pc:docMk/>
            <pc:sldMk cId="2475241319" sldId="2147138105"/>
            <ac:picMk id="3" creationId="{8F92BD9B-9E13-9B1F-7771-A97BDC1249B5}"/>
          </ac:picMkLst>
        </pc:picChg>
        <pc:picChg chg="del">
          <ac:chgData name="Oehrli, Stefan" userId="3f36891e-f853-43e7-bcbc-2879a2513833" providerId="ADAL" clId="{262C7BF4-86F5-CD49-A8E8-3A77A5D2BB22}" dt="2024-06-17T08:46:38.274" v="1146" actId="21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del">
        <pc:chgData name="Oehrli, Stefan" userId="3f36891e-f853-43e7-bcbc-2879a2513833" providerId="ADAL" clId="{262C7BF4-86F5-CD49-A8E8-3A77A5D2BB22}" dt="2024-06-16T22:20:45.172" v="67" actId="2696"/>
        <pc:sldMkLst>
          <pc:docMk/>
          <pc:sldMk cId="4159375980" sldId="2147138110"/>
        </pc:sldMkLst>
      </pc:sldChg>
      <pc:sldChg chg="modSp mod">
        <pc:chgData name="Oehrli, Stefan" userId="3f36891e-f853-43e7-bcbc-2879a2513833" providerId="ADAL" clId="{262C7BF4-86F5-CD49-A8E8-3A77A5D2BB22}" dt="2024-06-17T05:26:52.611" v="369"/>
        <pc:sldMkLst>
          <pc:docMk/>
          <pc:sldMk cId="2774964817" sldId="2147138111"/>
        </pc:sldMkLst>
        <pc:spChg chg="mod">
          <ac:chgData name="Oehrli, Stefan" userId="3f36891e-f853-43e7-bcbc-2879a2513833" providerId="ADAL" clId="{262C7BF4-86F5-CD49-A8E8-3A77A5D2BB22}" dt="2024-06-17T05:26:52.611" v="369"/>
          <ac:spMkLst>
            <pc:docMk/>
            <pc:sldMk cId="2774964817" sldId="2147138111"/>
            <ac:spMk id="10" creationId="{E71E492B-E171-42B1-2E24-469DFA041F48}"/>
          </ac:spMkLst>
        </pc:spChg>
      </pc:sldChg>
      <pc:sldChg chg="del">
        <pc:chgData name="Oehrli, Stefan" userId="3f36891e-f853-43e7-bcbc-2879a2513833" providerId="ADAL" clId="{262C7BF4-86F5-CD49-A8E8-3A77A5D2BB22}" dt="2024-06-16T22:20:28.410" v="45" actId="2696"/>
        <pc:sldMkLst>
          <pc:docMk/>
          <pc:sldMk cId="424518403" sldId="2147138112"/>
        </pc:sldMkLst>
      </pc:sldChg>
      <pc:sldChg chg="del">
        <pc:chgData name="Oehrli, Stefan" userId="3f36891e-f853-43e7-bcbc-2879a2513833" providerId="ADAL" clId="{262C7BF4-86F5-CD49-A8E8-3A77A5D2BB22}" dt="2024-06-16T22:20:32.586" v="49" actId="2696"/>
        <pc:sldMkLst>
          <pc:docMk/>
          <pc:sldMk cId="1136284001" sldId="2147138113"/>
        </pc:sldMkLst>
      </pc:sldChg>
      <pc:sldChg chg="del">
        <pc:chgData name="Oehrli, Stefan" userId="3f36891e-f853-43e7-bcbc-2879a2513833" providerId="ADAL" clId="{262C7BF4-86F5-CD49-A8E8-3A77A5D2BB22}" dt="2024-06-16T22:20:38.110" v="57" actId="2696"/>
        <pc:sldMkLst>
          <pc:docMk/>
          <pc:sldMk cId="2191559807" sldId="2147138114"/>
        </pc:sldMkLst>
      </pc:sldChg>
      <pc:sldChg chg="del">
        <pc:chgData name="Oehrli, Stefan" userId="3f36891e-f853-43e7-bcbc-2879a2513833" providerId="ADAL" clId="{262C7BF4-86F5-CD49-A8E8-3A77A5D2BB22}" dt="2024-06-16T22:20:38.081" v="55" actId="2696"/>
        <pc:sldMkLst>
          <pc:docMk/>
          <pc:sldMk cId="934375759" sldId="2147138115"/>
        </pc:sldMkLst>
      </pc:sldChg>
      <pc:sldChg chg="del">
        <pc:chgData name="Oehrli, Stefan" userId="3f36891e-f853-43e7-bcbc-2879a2513833" providerId="ADAL" clId="{262C7BF4-86F5-CD49-A8E8-3A77A5D2BB22}" dt="2024-06-16T22:20:41.010" v="61" actId="2696"/>
        <pc:sldMkLst>
          <pc:docMk/>
          <pc:sldMk cId="1484047602" sldId="2147138116"/>
        </pc:sldMkLst>
      </pc:sldChg>
      <pc:sldChg chg="del">
        <pc:chgData name="Oehrli, Stefan" userId="3f36891e-f853-43e7-bcbc-2879a2513833" providerId="ADAL" clId="{262C7BF4-86F5-CD49-A8E8-3A77A5D2BB22}" dt="2024-06-16T22:20:45.140" v="65" actId="2696"/>
        <pc:sldMkLst>
          <pc:docMk/>
          <pc:sldMk cId="1497942445" sldId="2147138117"/>
        </pc:sldMkLst>
      </pc:sldChg>
      <pc:sldChg chg="ord">
        <pc:chgData name="Oehrli, Stefan" userId="3f36891e-f853-43e7-bcbc-2879a2513833" providerId="ADAL" clId="{262C7BF4-86F5-CD49-A8E8-3A77A5D2BB22}" dt="2024-06-17T04:52:11.920" v="123" actId="20578"/>
        <pc:sldMkLst>
          <pc:docMk/>
          <pc:sldMk cId="2826333923" sldId="2147138119"/>
        </pc:sldMkLst>
      </pc:sldChg>
      <pc:sldChg chg="addSp modSp mod ord modAnim">
        <pc:chgData name="Oehrli, Stefan" userId="3f36891e-f853-43e7-bcbc-2879a2513833" providerId="ADAL" clId="{262C7BF4-86F5-CD49-A8E8-3A77A5D2BB22}" dt="2024-06-17T04:55:25.377" v="200"/>
        <pc:sldMkLst>
          <pc:docMk/>
          <pc:sldMk cId="3662948178" sldId="2147138120"/>
        </pc:sldMkLst>
        <pc:spChg chg="add mod">
          <ac:chgData name="Oehrli, Stefan" userId="3f36891e-f853-43e7-bcbc-2879a2513833" providerId="ADAL" clId="{262C7BF4-86F5-CD49-A8E8-3A77A5D2BB22}" dt="2024-06-17T04:55:13.840" v="199" actId="207"/>
          <ac:spMkLst>
            <pc:docMk/>
            <pc:sldMk cId="3662948178" sldId="2147138120"/>
            <ac:spMk id="7" creationId="{74628A42-C32E-745C-502E-07FF9383DEF1}"/>
          </ac:spMkLst>
        </pc:spChg>
      </pc:sldChg>
      <pc:sldChg chg="delSp modSp mod ord delAnim modAnim">
        <pc:chgData name="Oehrli, Stefan" userId="3f36891e-f853-43e7-bcbc-2879a2513833" providerId="ADAL" clId="{262C7BF4-86F5-CD49-A8E8-3A77A5D2BB22}" dt="2024-06-17T05:58:12.342" v="1046" actId="113"/>
        <pc:sldMkLst>
          <pc:docMk/>
          <pc:sldMk cId="666160610" sldId="2147138121"/>
        </pc:sldMkLst>
        <pc:spChg chg="mod">
          <ac:chgData name="Oehrli, Stefan" userId="3f36891e-f853-43e7-bcbc-2879a2513833" providerId="ADAL" clId="{262C7BF4-86F5-CD49-A8E8-3A77A5D2BB22}" dt="2024-06-17T05:58:12.342" v="1046" actId="113"/>
          <ac:spMkLst>
            <pc:docMk/>
            <pc:sldMk cId="666160610" sldId="2147138121"/>
            <ac:spMk id="9" creationId="{92860932-76E1-E164-1A33-41CEDE602802}"/>
          </ac:spMkLst>
        </pc:spChg>
        <pc:picChg chg="del">
          <ac:chgData name="Oehrli, Stefan" userId="3f36891e-f853-43e7-bcbc-2879a2513833" providerId="ADAL" clId="{262C7BF4-86F5-CD49-A8E8-3A77A5D2BB22}" dt="2024-06-17T05:36:06.681" v="394" actId="478"/>
          <ac:picMkLst>
            <pc:docMk/>
            <pc:sldMk cId="666160610" sldId="2147138121"/>
            <ac:picMk id="17" creationId="{4D5342C5-1B70-C8E2-457B-621F5981C0DF}"/>
          </ac:picMkLst>
        </pc:picChg>
      </pc:sldChg>
      <pc:sldChg chg="modSp mod">
        <pc:chgData name="Oehrli, Stefan" userId="3f36891e-f853-43e7-bcbc-2879a2513833" providerId="ADAL" clId="{262C7BF4-86F5-CD49-A8E8-3A77A5D2BB22}" dt="2024-06-17T08:50:12.366" v="1186" actId="20577"/>
        <pc:sldMkLst>
          <pc:docMk/>
          <pc:sldMk cId="3069574028" sldId="2147138122"/>
        </pc:sldMkLst>
        <pc:spChg chg="mod">
          <ac:chgData name="Oehrli, Stefan" userId="3f36891e-f853-43e7-bcbc-2879a2513833" providerId="ADAL" clId="{262C7BF4-86F5-CD49-A8E8-3A77A5D2BB22}" dt="2024-06-17T08:50:12.366" v="1186" actId="20577"/>
          <ac:spMkLst>
            <pc:docMk/>
            <pc:sldMk cId="3069574028" sldId="2147138122"/>
            <ac:spMk id="2" creationId="{62E73163-1B94-708C-37BC-35D761D25724}"/>
          </ac:spMkLst>
        </pc:spChg>
      </pc:sldChg>
      <pc:sldChg chg="modSp mod">
        <pc:chgData name="Oehrli, Stefan" userId="3f36891e-f853-43e7-bcbc-2879a2513833" providerId="ADAL" clId="{262C7BF4-86F5-CD49-A8E8-3A77A5D2BB22}" dt="2024-06-17T08:50:28.053" v="1193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262C7BF4-86F5-CD49-A8E8-3A77A5D2BB22}" dt="2024-06-17T08:50:28.053" v="1193" actId="20577"/>
          <ac:spMkLst>
            <pc:docMk/>
            <pc:sldMk cId="764597068" sldId="2147138123"/>
            <ac:spMk id="2" creationId="{93173BB2-FF72-F38D-B305-3AAB3F55CE4F}"/>
          </ac:spMkLst>
        </pc:spChg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147595729" sldId="2147138181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709564194" sldId="2147138182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608967408" sldId="2147138183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1555260919" sldId="2147138184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359752795" sldId="2147138185"/>
        </pc:sldMkLst>
      </pc:sldChg>
      <pc:sldChg chg="del">
        <pc:chgData name="Oehrli, Stefan" userId="3f36891e-f853-43e7-bcbc-2879a2513833" providerId="ADAL" clId="{262C7BF4-86F5-CD49-A8E8-3A77A5D2BB22}" dt="2024-06-16T22:20:38.084" v="56" actId="2696"/>
        <pc:sldMkLst>
          <pc:docMk/>
          <pc:sldMk cId="47853685" sldId="2147138186"/>
        </pc:sldMkLst>
      </pc:sldChg>
      <pc:sldChg chg="del">
        <pc:chgData name="Oehrli, Stefan" userId="3f36891e-f853-43e7-bcbc-2879a2513833" providerId="ADAL" clId="{262C7BF4-86F5-CD49-A8E8-3A77A5D2BB22}" dt="2024-06-16T22:20:28.414" v="47" actId="2696"/>
        <pc:sldMkLst>
          <pc:docMk/>
          <pc:sldMk cId="3736502658" sldId="2147138187"/>
        </pc:sldMkLst>
      </pc:sldChg>
      <pc:sldChg chg="del">
        <pc:chgData name="Oehrli, Stefan" userId="3f36891e-f853-43e7-bcbc-2879a2513833" providerId="ADAL" clId="{262C7BF4-86F5-CD49-A8E8-3A77A5D2BB22}" dt="2024-06-16T22:20:28.413" v="46" actId="2696"/>
        <pc:sldMkLst>
          <pc:docMk/>
          <pc:sldMk cId="529553536" sldId="2147138188"/>
        </pc:sldMkLst>
      </pc:sldChg>
      <pc:sldChg chg="del">
        <pc:chgData name="Oehrli, Stefan" userId="3f36891e-f853-43e7-bcbc-2879a2513833" providerId="ADAL" clId="{262C7BF4-86F5-CD49-A8E8-3A77A5D2BB22}" dt="2024-06-16T22:20:41.014" v="63" actId="2696"/>
        <pc:sldMkLst>
          <pc:docMk/>
          <pc:sldMk cId="3307806032" sldId="2147138189"/>
        </pc:sldMkLst>
      </pc:sldChg>
      <pc:sldChg chg="del">
        <pc:chgData name="Oehrli, Stefan" userId="3f36891e-f853-43e7-bcbc-2879a2513833" providerId="ADAL" clId="{262C7BF4-86F5-CD49-A8E8-3A77A5D2BB22}" dt="2024-06-16T22:20:41.026" v="64" actId="2696"/>
        <pc:sldMkLst>
          <pc:docMk/>
          <pc:sldMk cId="2582172254" sldId="2147138190"/>
        </pc:sldMkLst>
      </pc:sldChg>
      <pc:sldChg chg="del">
        <pc:chgData name="Oehrli, Stefan" userId="3f36891e-f853-43e7-bcbc-2879a2513833" providerId="ADAL" clId="{262C7BF4-86F5-CD49-A8E8-3A77A5D2BB22}" dt="2024-06-16T22:20:32.611" v="53" actId="2696"/>
        <pc:sldMkLst>
          <pc:docMk/>
          <pc:sldMk cId="2312882381" sldId="2147138191"/>
        </pc:sldMkLst>
      </pc:sldChg>
      <pc:sldChg chg="del">
        <pc:chgData name="Oehrli, Stefan" userId="3f36891e-f853-43e7-bcbc-2879a2513833" providerId="ADAL" clId="{262C7BF4-86F5-CD49-A8E8-3A77A5D2BB22}" dt="2024-06-16T22:20:32.595" v="52" actId="2696"/>
        <pc:sldMkLst>
          <pc:docMk/>
          <pc:sldMk cId="3816320732" sldId="2147138192"/>
        </pc:sldMkLst>
      </pc:sldChg>
      <pc:sldChg chg="del">
        <pc:chgData name="Oehrli, Stefan" userId="3f36891e-f853-43e7-bcbc-2879a2513833" providerId="ADAL" clId="{262C7BF4-86F5-CD49-A8E8-3A77A5D2BB22}" dt="2024-06-17T13:10:59.091" v="3520" actId="2696"/>
        <pc:sldMkLst>
          <pc:docMk/>
          <pc:sldMk cId="1007215444" sldId="2147138194"/>
        </pc:sldMkLst>
      </pc:sldChg>
      <pc:sldChg chg="del">
        <pc:chgData name="Oehrli, Stefan" userId="3f36891e-f853-43e7-bcbc-2879a2513833" providerId="ADAL" clId="{262C7BF4-86F5-CD49-A8E8-3A77A5D2BB22}" dt="2024-06-17T13:10:57.692" v="3519" actId="2696"/>
        <pc:sldMkLst>
          <pc:docMk/>
          <pc:sldMk cId="1520814761" sldId="2147138196"/>
        </pc:sldMkLst>
      </pc:sldChg>
      <pc:sldChg chg="del">
        <pc:chgData name="Oehrli, Stefan" userId="3f36891e-f853-43e7-bcbc-2879a2513833" providerId="ADAL" clId="{262C7BF4-86F5-CD49-A8E8-3A77A5D2BB22}" dt="2024-06-17T05:28:58.314" v="371" actId="2696"/>
        <pc:sldMkLst>
          <pc:docMk/>
          <pc:sldMk cId="2500466773" sldId="2147138197"/>
        </pc:sldMkLst>
      </pc:sldChg>
      <pc:sldChg chg="addSp modSp mod ord modAnim">
        <pc:chgData name="Oehrli, Stefan" userId="3f36891e-f853-43e7-bcbc-2879a2513833" providerId="ADAL" clId="{262C7BF4-86F5-CD49-A8E8-3A77A5D2BB22}" dt="2024-06-17T13:23:15.899" v="3898"/>
        <pc:sldMkLst>
          <pc:docMk/>
          <pc:sldMk cId="2326204635" sldId="2147138198"/>
        </pc:sldMkLst>
        <pc:spChg chg="add mod">
          <ac:chgData name="Oehrli, Stefan" userId="3f36891e-f853-43e7-bcbc-2879a2513833" providerId="ADAL" clId="{262C7BF4-86F5-CD49-A8E8-3A77A5D2BB22}" dt="2024-06-17T13:21:40.018" v="3858" actId="14100"/>
          <ac:spMkLst>
            <pc:docMk/>
            <pc:sldMk cId="2326204635" sldId="2147138198"/>
            <ac:spMk id="2" creationId="{6525370A-E3E7-2F8D-04C1-669850FB9888}"/>
          </ac:spMkLst>
        </pc:spChg>
        <pc:spChg chg="add mod">
          <ac:chgData name="Oehrli, Stefan" userId="3f36891e-f853-43e7-bcbc-2879a2513833" providerId="ADAL" clId="{262C7BF4-86F5-CD49-A8E8-3A77A5D2BB22}" dt="2024-06-17T13:21:51.060" v="3863" actId="1076"/>
          <ac:spMkLst>
            <pc:docMk/>
            <pc:sldMk cId="2326204635" sldId="2147138198"/>
            <ac:spMk id="3" creationId="{80EDC28E-68F8-D968-183F-06E49B3C2F45}"/>
          </ac:spMkLst>
        </pc:spChg>
        <pc:spChg chg="add mod">
          <ac:chgData name="Oehrli, Stefan" userId="3f36891e-f853-43e7-bcbc-2879a2513833" providerId="ADAL" clId="{262C7BF4-86F5-CD49-A8E8-3A77A5D2BB22}" dt="2024-06-17T13:21:57.740" v="3866" actId="14100"/>
          <ac:spMkLst>
            <pc:docMk/>
            <pc:sldMk cId="2326204635" sldId="2147138198"/>
            <ac:spMk id="4" creationId="{8227C184-847D-C2B7-0EBF-EB8B5A1A057B}"/>
          </ac:spMkLst>
        </pc:spChg>
        <pc:spChg chg="add mod">
          <ac:chgData name="Oehrli, Stefan" userId="3f36891e-f853-43e7-bcbc-2879a2513833" providerId="ADAL" clId="{262C7BF4-86F5-CD49-A8E8-3A77A5D2BB22}" dt="2024-06-17T13:22:14.192" v="3869" actId="14100"/>
          <ac:spMkLst>
            <pc:docMk/>
            <pc:sldMk cId="2326204635" sldId="2147138198"/>
            <ac:spMk id="8" creationId="{7FFEF1C1-A49A-C089-51E8-A6E7DDF99002}"/>
          </ac:spMkLst>
        </pc:spChg>
        <pc:spChg chg="mod">
          <ac:chgData name="Oehrli, Stefan" userId="3f36891e-f853-43e7-bcbc-2879a2513833" providerId="ADAL" clId="{262C7BF4-86F5-CD49-A8E8-3A77A5D2BB22}" dt="2024-06-17T05:36:44.845" v="438" actId="20577"/>
          <ac:spMkLst>
            <pc:docMk/>
            <pc:sldMk cId="2326204635" sldId="2147138198"/>
            <ac:spMk id="9" creationId="{6865BB4D-871D-6C55-5CA1-11DC3FDC1291}"/>
          </ac:spMkLst>
        </pc:spChg>
        <pc:spChg chg="add mod">
          <ac:chgData name="Oehrli, Stefan" userId="3f36891e-f853-43e7-bcbc-2879a2513833" providerId="ADAL" clId="{262C7BF4-86F5-CD49-A8E8-3A77A5D2BB22}" dt="2024-06-17T13:22:23.555" v="3874" actId="14100"/>
          <ac:spMkLst>
            <pc:docMk/>
            <pc:sldMk cId="2326204635" sldId="2147138198"/>
            <ac:spMk id="10" creationId="{AB761E59-E4CC-9C51-6067-185DDA63BFE8}"/>
          </ac:spMkLst>
        </pc:spChg>
      </pc:sldChg>
      <pc:sldChg chg="addSp delSp modSp new del mod modClrScheme chgLayout">
        <pc:chgData name="Oehrli, Stefan" userId="3f36891e-f853-43e7-bcbc-2879a2513833" providerId="ADAL" clId="{262C7BF4-86F5-CD49-A8E8-3A77A5D2BB22}" dt="2024-06-17T04:59:07.536" v="213" actId="2696"/>
        <pc:sldMkLst>
          <pc:docMk/>
          <pc:sldMk cId="1000675578" sldId="2147138199"/>
        </pc:sldMkLst>
        <pc:spChg chg="del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2" creationId="{EE3764D4-2653-2758-0925-3F616A816F5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3" creationId="{3776B969-16DD-BB88-F599-7FF913F44AF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4" creationId="{72769DC0-8812-63AF-8FAC-CA3A17A8134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5" creationId="{8FCEB29B-66BD-7500-06F0-D0DFEF869E1B}"/>
          </ac:spMkLst>
        </pc:spChg>
      </pc:sldChg>
      <pc:sldChg chg="del">
        <pc:chgData name="Oehrli, Stefan" userId="3f36891e-f853-43e7-bcbc-2879a2513833" providerId="ADAL" clId="{262C7BF4-86F5-CD49-A8E8-3A77A5D2BB22}" dt="2024-06-16T22:20:32.620" v="54" actId="2696"/>
        <pc:sldMkLst>
          <pc:docMk/>
          <pc:sldMk cId="2101678055" sldId="2147138199"/>
        </pc:sldMkLst>
      </pc:sldChg>
      <pc:sldChg chg="del">
        <pc:chgData name="Oehrli, Stefan" userId="3f36891e-f853-43e7-bcbc-2879a2513833" providerId="ADAL" clId="{262C7BF4-86F5-CD49-A8E8-3A77A5D2BB22}" dt="2024-06-16T22:20:38.125" v="59" actId="2696"/>
        <pc:sldMkLst>
          <pc:docMk/>
          <pc:sldMk cId="1125153236" sldId="2147138200"/>
        </pc:sldMkLst>
      </pc:sldChg>
      <pc:sldChg chg="modSp add mod ord">
        <pc:chgData name="Oehrli, Stefan" userId="3f36891e-f853-43e7-bcbc-2879a2513833" providerId="ADAL" clId="{262C7BF4-86F5-CD49-A8E8-3A77A5D2BB22}" dt="2024-06-17T05:11:14.279" v="322"/>
        <pc:sldMkLst>
          <pc:docMk/>
          <pc:sldMk cId="2007375921" sldId="2147138200"/>
        </pc:sldMkLst>
        <pc:spChg chg="mod">
          <ac:chgData name="Oehrli, Stefan" userId="3f36891e-f853-43e7-bcbc-2879a2513833" providerId="ADAL" clId="{262C7BF4-86F5-CD49-A8E8-3A77A5D2BB22}" dt="2024-06-17T05:09:51.356" v="317"/>
          <ac:spMkLst>
            <pc:docMk/>
            <pc:sldMk cId="2007375921" sldId="2147138200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6.637" v="311" actId="20577"/>
          <ac:spMkLst>
            <pc:docMk/>
            <pc:sldMk cId="2007375921" sldId="2147138200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1:14.279" v="322"/>
          <ac:spMkLst>
            <pc:docMk/>
            <pc:sldMk cId="2007375921" sldId="2147138200"/>
            <ac:spMk id="40" creationId="{F812FB05-C283-CDA9-B557-B5415BD2668A}"/>
          </ac:spMkLst>
        </pc:spChg>
      </pc:sldChg>
      <pc:sldChg chg="del">
        <pc:chgData name="Oehrli, Stefan" userId="3f36891e-f853-43e7-bcbc-2879a2513833" providerId="ADAL" clId="{262C7BF4-86F5-CD49-A8E8-3A77A5D2BB22}" dt="2024-06-16T22:20:32.589" v="50" actId="2696"/>
        <pc:sldMkLst>
          <pc:docMk/>
          <pc:sldMk cId="2363004670" sldId="2147138201"/>
        </pc:sldMkLst>
      </pc:sldChg>
      <pc:sldChg chg="modSp add mod ord">
        <pc:chgData name="Oehrli, Stefan" userId="3f36891e-f853-43e7-bcbc-2879a2513833" providerId="ADAL" clId="{262C7BF4-86F5-CD49-A8E8-3A77A5D2BB22}" dt="2024-06-17T05:30:09.918" v="385" actId="20578"/>
        <pc:sldMkLst>
          <pc:docMk/>
          <pc:sldMk cId="2659448521" sldId="2147138201"/>
        </pc:sldMkLst>
        <pc:spChg chg="mod">
          <ac:chgData name="Oehrli, Stefan" userId="3f36891e-f853-43e7-bcbc-2879a2513833" providerId="ADAL" clId="{262C7BF4-86F5-CD49-A8E8-3A77A5D2BB22}" dt="2024-06-17T05:04:42" v="312"/>
          <ac:spMkLst>
            <pc:docMk/>
            <pc:sldMk cId="2659448521" sldId="2147138201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2.682" v="310" actId="20577"/>
          <ac:spMkLst>
            <pc:docMk/>
            <pc:sldMk cId="2659448521" sldId="2147138201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09:25.185" v="314"/>
          <ac:spMkLst>
            <pc:docMk/>
            <pc:sldMk cId="2659448521" sldId="2147138201"/>
            <ac:spMk id="40" creationId="{F812FB05-C283-CDA9-B557-B5415BD2668A}"/>
          </ac:spMkLst>
        </pc:spChg>
      </pc:sldChg>
      <pc:sldChg chg="modSp add mod">
        <pc:chgData name="Oehrli, Stefan" userId="3f36891e-f853-43e7-bcbc-2879a2513833" providerId="ADAL" clId="{262C7BF4-86F5-CD49-A8E8-3A77A5D2BB22}" dt="2024-06-17T05:24:05.049" v="365"/>
        <pc:sldMkLst>
          <pc:docMk/>
          <pc:sldMk cId="1337759943" sldId="2147138202"/>
        </pc:sldMkLst>
        <pc:spChg chg="mod">
          <ac:chgData name="Oehrli, Stefan" userId="3f36891e-f853-43e7-bcbc-2879a2513833" providerId="ADAL" clId="{262C7BF4-86F5-CD49-A8E8-3A77A5D2BB22}" dt="2024-06-17T05:24:05.049" v="365"/>
          <ac:spMkLst>
            <pc:docMk/>
            <pc:sldMk cId="1337759943" sldId="2147138202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3:33.536" v="243" actId="20577"/>
          <ac:spMkLst>
            <pc:docMk/>
            <pc:sldMk cId="1337759943" sldId="2147138202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20:06.910" v="332"/>
          <ac:spMkLst>
            <pc:docMk/>
            <pc:sldMk cId="1337759943" sldId="2147138202"/>
            <ac:spMk id="40" creationId="{F812FB05-C283-CDA9-B557-B5415BD2668A}"/>
          </ac:spMkLst>
        </pc:spChg>
      </pc:sldChg>
      <pc:sldChg chg="add del">
        <pc:chgData name="Oehrli, Stefan" userId="3f36891e-f853-43e7-bcbc-2879a2513833" providerId="ADAL" clId="{262C7BF4-86F5-CD49-A8E8-3A77A5D2BB22}" dt="2024-06-17T04:59:21.517" v="218" actId="2696"/>
        <pc:sldMkLst>
          <pc:docMk/>
          <pc:sldMk cId="1485534821" sldId="2147138203"/>
        </pc:sldMkLst>
      </pc:sldChg>
      <pc:sldChg chg="modSp add mod ord">
        <pc:chgData name="Oehrli, Stefan" userId="3f36891e-f853-43e7-bcbc-2879a2513833" providerId="ADAL" clId="{262C7BF4-86F5-CD49-A8E8-3A77A5D2BB22}" dt="2024-06-17T05:31:05.994" v="391" actId="20578"/>
        <pc:sldMkLst>
          <pc:docMk/>
          <pc:sldMk cId="4144844284" sldId="2147138204"/>
        </pc:sldMkLst>
        <pc:spChg chg="mod">
          <ac:chgData name="Oehrli, Stefan" userId="3f36891e-f853-43e7-bcbc-2879a2513833" providerId="ADAL" clId="{262C7BF4-86F5-CD49-A8E8-3A77A5D2BB22}" dt="2024-06-17T05:24:01.534" v="364" actId="20577"/>
          <ac:spMkLst>
            <pc:docMk/>
            <pc:sldMk cId="4144844284" sldId="2147138204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2:17.526" v="236" actId="20577"/>
          <ac:spMkLst>
            <pc:docMk/>
            <pc:sldMk cId="4144844284" sldId="2147138204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9:27.373" v="330" actId="114"/>
          <ac:spMkLst>
            <pc:docMk/>
            <pc:sldMk cId="4144844284" sldId="2147138204"/>
            <ac:spMk id="40" creationId="{F812FB05-C283-CDA9-B557-B5415BD2668A}"/>
          </ac:spMkLst>
        </pc:spChg>
      </pc:sldChg>
      <pc:sldChg chg="modSp add mod ord">
        <pc:chgData name="Oehrli, Stefan" userId="3f36891e-f853-43e7-bcbc-2879a2513833" providerId="ADAL" clId="{262C7BF4-86F5-CD49-A8E8-3A77A5D2BB22}" dt="2024-06-17T05:35:20.452" v="392" actId="20578"/>
        <pc:sldMkLst>
          <pc:docMk/>
          <pc:sldMk cId="1476726504" sldId="2147138205"/>
        </pc:sldMkLst>
        <pc:spChg chg="mod">
          <ac:chgData name="Oehrli, Stefan" userId="3f36891e-f853-43e7-bcbc-2879a2513833" providerId="ADAL" clId="{262C7BF4-86F5-CD49-A8E8-3A77A5D2BB22}" dt="2024-06-17T05:00:24.180" v="232"/>
          <ac:spMkLst>
            <pc:docMk/>
            <pc:sldMk cId="1476726504" sldId="2147138205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0:22.766" v="231" actId="20577"/>
          <ac:spMkLst>
            <pc:docMk/>
            <pc:sldMk cId="1476726504" sldId="2147138205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3:28.851" v="323"/>
          <ac:spMkLst>
            <pc:docMk/>
            <pc:sldMk cId="1476726504" sldId="2147138205"/>
            <ac:spMk id="40" creationId="{F812FB05-C283-CDA9-B557-B5415BD2668A}"/>
          </ac:spMkLst>
        </pc:spChg>
      </pc:sldChg>
      <pc:sldChg chg="addSp delSp modSp new mod ord modClrScheme chgLayout">
        <pc:chgData name="Oehrli, Stefan" userId="3f36891e-f853-43e7-bcbc-2879a2513833" providerId="ADAL" clId="{262C7BF4-86F5-CD49-A8E8-3A77A5D2BB22}" dt="2024-06-17T13:00:48.115" v="3518" actId="20577"/>
        <pc:sldMkLst>
          <pc:docMk/>
          <pc:sldMk cId="3919350327" sldId="2147138206"/>
        </pc:sldMkLst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2" creationId="{6C9C662E-4C23-DAA6-664E-C8CBEB09E42E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3" creationId="{3E16BB55-6CCC-8CBF-F68B-4766604FA147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4" creationId="{75029A32-EB45-51F5-E2D6-1E67A0863542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6" creationId="{6DD1DA18-A6AB-AE46-257F-A63FFA900D03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7" creationId="{05AFBEC8-CF15-BA1E-092F-8395F3BB9DB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8" creationId="{F95CEE0A-AF5A-BE20-773B-D401310D122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9" creationId="{3279521D-4FFA-BAE6-3070-246C90D6FF7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0" creationId="{CF9D4168-B5F5-2032-2F5E-996E54635671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1" creationId="{7AAD82F2-CBB4-933F-FCED-904C77A7A0A6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2" creationId="{276408CF-7DE9-7B4E-BD40-84BF3A40887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3" creationId="{6AAB5FE3-C856-3CAF-D32C-11DA16F5812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4" creationId="{89BD2E23-D7BD-AC4C-678F-95DAE98254E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5" creationId="{E3642794-6F29-358A-8B68-66F727BC251A}"/>
          </ac:spMkLst>
        </pc:spChg>
        <pc:spChg chg="add mod ord">
          <ac:chgData name="Oehrli, Stefan" userId="3f36891e-f853-43e7-bcbc-2879a2513833" providerId="ADAL" clId="{262C7BF4-86F5-CD49-A8E8-3A77A5D2BB22}" dt="2024-06-17T12:56:14.854" v="3311"/>
          <ac:spMkLst>
            <pc:docMk/>
            <pc:sldMk cId="3919350327" sldId="2147138206"/>
            <ac:spMk id="16" creationId="{CE950502-B7E8-7791-B218-DAAFBE22A012}"/>
          </ac:spMkLst>
        </pc:spChg>
        <pc:spChg chg="add mod ord">
          <ac:chgData name="Oehrli, Stefan" userId="3f36891e-f853-43e7-bcbc-2879a2513833" providerId="ADAL" clId="{262C7BF4-86F5-CD49-A8E8-3A77A5D2BB22}" dt="2024-06-17T13:00:48.115" v="3518" actId="20577"/>
          <ac:spMkLst>
            <pc:docMk/>
            <pc:sldMk cId="3919350327" sldId="2147138206"/>
            <ac:spMk id="17" creationId="{3D2E9805-E45D-4CD5-B19C-0B9DCFB22375}"/>
          </ac:spMkLst>
        </pc:spChg>
        <pc:spChg chg="add mod ord">
          <ac:chgData name="Oehrli, Stefan" userId="3f36891e-f853-43e7-bcbc-2879a2513833" providerId="ADAL" clId="{262C7BF4-86F5-CD49-A8E8-3A77A5D2BB22}" dt="2024-06-17T12:56:43.901" v="3324"/>
          <ac:spMkLst>
            <pc:docMk/>
            <pc:sldMk cId="3919350327" sldId="2147138206"/>
            <ac:spMk id="18" creationId="{FB531463-B9B9-C63A-1702-0DD229803848}"/>
          </ac:spMkLst>
        </pc:spChg>
        <pc:spChg chg="add del mod ord">
          <ac:chgData name="Oehrli, Stefan" userId="3f36891e-f853-43e7-bcbc-2879a2513833" providerId="ADAL" clId="{262C7BF4-86F5-CD49-A8E8-3A77A5D2BB22}" dt="2024-06-17T12:55:47.838" v="3306"/>
          <ac:spMkLst>
            <pc:docMk/>
            <pc:sldMk cId="3919350327" sldId="2147138206"/>
            <ac:spMk id="19" creationId="{00BA811F-9C33-20E2-330D-5DB755C13087}"/>
          </ac:spMkLst>
        </pc:spChg>
        <pc:spChg chg="add mod">
          <ac:chgData name="Oehrli, Stefan" userId="3f36891e-f853-43e7-bcbc-2879a2513833" providerId="ADAL" clId="{262C7BF4-86F5-CD49-A8E8-3A77A5D2BB22}" dt="2024-06-17T12:57:21.796" v="3392" actId="767"/>
          <ac:spMkLst>
            <pc:docMk/>
            <pc:sldMk cId="3919350327" sldId="2147138206"/>
            <ac:spMk id="21" creationId="{0D2AFEEE-5F90-0AB7-EE90-7FEB4D1A5345}"/>
          </ac:spMkLst>
        </pc:spChg>
        <pc:spChg chg="add del mod">
          <ac:chgData name="Oehrli, Stefan" userId="3f36891e-f853-43e7-bcbc-2879a2513833" providerId="ADAL" clId="{262C7BF4-86F5-CD49-A8E8-3A77A5D2BB22}" dt="2024-06-17T12:58:50.373" v="3398"/>
          <ac:spMkLst>
            <pc:docMk/>
            <pc:sldMk cId="3919350327" sldId="2147138206"/>
            <ac:spMk id="23" creationId="{5A70E15E-447E-8CCF-DE72-2695D888E77C}"/>
          </ac:spMkLst>
        </pc:spChg>
        <pc:picChg chg="add del mod">
          <ac:chgData name="Oehrli, Stefan" userId="3f36891e-f853-43e7-bcbc-2879a2513833" providerId="ADAL" clId="{262C7BF4-86F5-CD49-A8E8-3A77A5D2BB22}" dt="2024-06-17T12:58:49.344" v="3397" actId="478"/>
          <ac:picMkLst>
            <pc:docMk/>
            <pc:sldMk cId="3919350327" sldId="2147138206"/>
            <ac:picMk id="20" creationId="{8859F016-107F-C231-5766-926950A614C9}"/>
          </ac:picMkLst>
        </pc:picChg>
        <pc:picChg chg="add mod">
          <ac:chgData name="Oehrli, Stefan" userId="3f36891e-f853-43e7-bcbc-2879a2513833" providerId="ADAL" clId="{262C7BF4-86F5-CD49-A8E8-3A77A5D2BB22}" dt="2024-06-17T12:58:56.566" v="3404" actId="1076"/>
          <ac:picMkLst>
            <pc:docMk/>
            <pc:sldMk cId="3919350327" sldId="2147138206"/>
            <ac:picMk id="24" creationId="{0D754E0D-7D50-ED25-9460-A50719D195B3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09:01:58.823" v="1217" actId="1076"/>
        <pc:sldMkLst>
          <pc:docMk/>
          <pc:sldMk cId="2842768397" sldId="2147138207"/>
        </pc:sldMkLst>
        <pc:spChg chg="add mod">
          <ac:chgData name="Oehrli, Stefan" userId="3f36891e-f853-43e7-bcbc-2879a2513833" providerId="ADAL" clId="{262C7BF4-86F5-CD49-A8E8-3A77A5D2BB22}" dt="2024-06-17T09:01:58.823" v="1217" actId="1076"/>
          <ac:spMkLst>
            <pc:docMk/>
            <pc:sldMk cId="2842768397" sldId="2147138207"/>
            <ac:spMk id="3" creationId="{DC8303DC-0904-C614-4E46-DD627B804599}"/>
          </ac:spMkLst>
        </pc:spChg>
        <pc:spChg chg="mod">
          <ac:chgData name="Oehrli, Stefan" userId="3f36891e-f853-43e7-bcbc-2879a2513833" providerId="ADAL" clId="{262C7BF4-86F5-CD49-A8E8-3A77A5D2BB22}" dt="2024-06-17T08:56:04.448" v="1196"/>
          <ac:spMkLst>
            <pc:docMk/>
            <pc:sldMk cId="2842768397" sldId="2147138207"/>
            <ac:spMk id="7" creationId="{05AFBEC8-CF15-BA1E-092F-8395F3BB9DBA}"/>
          </ac:spMkLst>
        </pc:spChg>
        <pc:spChg chg="del mod">
          <ac:chgData name="Oehrli, Stefan" userId="3f36891e-f853-43e7-bcbc-2879a2513833" providerId="ADAL" clId="{262C7BF4-86F5-CD49-A8E8-3A77A5D2BB22}" dt="2024-06-17T09:01:05.523" v="1198"/>
          <ac:spMkLst>
            <pc:docMk/>
            <pc:sldMk cId="2842768397" sldId="2147138207"/>
            <ac:spMk id="8" creationId="{F95CEE0A-AF5A-BE20-773B-D401310D122A}"/>
          </ac:spMkLst>
        </pc:spChg>
        <pc:spChg chg="mod">
          <ac:chgData name="Oehrli, Stefan" userId="3f36891e-f853-43e7-bcbc-2879a2513833" providerId="ADAL" clId="{262C7BF4-86F5-CD49-A8E8-3A77A5D2BB22}" dt="2024-06-17T08:55:59.359" v="1195" actId="20577"/>
          <ac:spMkLst>
            <pc:docMk/>
            <pc:sldMk cId="2842768397" sldId="2147138207"/>
            <ac:spMk id="9" creationId="{3279521D-4FFA-BAE6-3070-246C90D6FF79}"/>
          </ac:spMkLst>
        </pc:spChg>
        <pc:picChg chg="add mod">
          <ac:chgData name="Oehrli, Stefan" userId="3f36891e-f853-43e7-bcbc-2879a2513833" providerId="ADAL" clId="{262C7BF4-86F5-CD49-A8E8-3A77A5D2BB22}" dt="2024-06-17T09:01:16.026" v="1200" actId="1076"/>
          <ac:picMkLst>
            <pc:docMk/>
            <pc:sldMk cId="2842768397" sldId="2147138207"/>
            <ac:picMk id="2" creationId="{26A9FEC2-6FC7-0DE9-AAAB-8E7353D2AB7B}"/>
          </ac:picMkLst>
        </pc:picChg>
      </pc:sldChg>
      <pc:sldChg chg="addSp delSp modSp add mod ord modClrScheme chgLayout">
        <pc:chgData name="Oehrli, Stefan" userId="3f36891e-f853-43e7-bcbc-2879a2513833" providerId="ADAL" clId="{262C7BF4-86F5-CD49-A8E8-3A77A5D2BB22}" dt="2024-06-17T12:51:43.822" v="3276" actId="14100"/>
        <pc:sldMkLst>
          <pc:docMk/>
          <pc:sldMk cId="1826387027" sldId="2147138208"/>
        </pc:sldMkLst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2" creationId="{C01E0DD3-9545-9315-F9C7-C62682DC6EAB}"/>
          </ac:spMkLst>
        </pc:spChg>
        <pc:spChg chg="add del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3" creationId="{E8B8BC52-9286-42E6-8D21-C3814DADD2B9}"/>
          </ac:spMkLst>
        </pc:spChg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4" creationId="{5D88C90C-F13E-E913-3334-BC1F538C5495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6" creationId="{6DD1DA18-A6AB-AE46-257F-A63FFA900D03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7" creationId="{05AFBEC8-CF15-BA1E-092F-8395F3BB9DB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8" creationId="{F95CEE0A-AF5A-BE20-773B-D401310D122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9" creationId="{3279521D-4FFA-BAE6-3070-246C90D6FF79}"/>
          </ac:spMkLst>
        </pc:spChg>
        <pc:spChg chg="add mod ord">
          <ac:chgData name="Oehrli, Stefan" userId="3f36891e-f853-43e7-bcbc-2879a2513833" providerId="ADAL" clId="{262C7BF4-86F5-CD49-A8E8-3A77A5D2BB22}" dt="2024-06-17T12:51:41.023" v="3275" actId="1076"/>
          <ac:spMkLst>
            <pc:docMk/>
            <pc:sldMk cId="1826387027" sldId="2147138208"/>
            <ac:spMk id="10" creationId="{BC83AAD8-4162-6508-AF2C-89CF10E331B6}"/>
          </ac:spMkLst>
        </pc:spChg>
        <pc:spChg chg="add mod ord">
          <ac:chgData name="Oehrli, Stefan" userId="3f36891e-f853-43e7-bcbc-2879a2513833" providerId="ADAL" clId="{262C7BF4-86F5-CD49-A8E8-3A77A5D2BB22}" dt="2024-06-17T12:50:37.039" v="3237" actId="14100"/>
          <ac:spMkLst>
            <pc:docMk/>
            <pc:sldMk cId="1826387027" sldId="2147138208"/>
            <ac:spMk id="11" creationId="{985BF40E-437F-2325-EA70-48DE6B5633E5}"/>
          </ac:spMkLst>
        </pc:spChg>
        <pc:spChg chg="add mod ord">
          <ac:chgData name="Oehrli, Stefan" userId="3f36891e-f853-43e7-bcbc-2879a2513833" providerId="ADAL" clId="{262C7BF4-86F5-CD49-A8E8-3A77A5D2BB22}" dt="2024-06-17T12:51:43.822" v="3276" actId="14100"/>
          <ac:spMkLst>
            <pc:docMk/>
            <pc:sldMk cId="1826387027" sldId="2147138208"/>
            <ac:spMk id="12" creationId="{A821F9FE-742F-7D85-2EFC-41A1B2352B7B}"/>
          </ac:spMkLst>
        </pc:spChg>
        <pc:spChg chg="add mod ord">
          <ac:chgData name="Oehrli, Stefan" userId="3f36891e-f853-43e7-bcbc-2879a2513833" providerId="ADAL" clId="{262C7BF4-86F5-CD49-A8E8-3A77A5D2BB22}" dt="2024-06-17T12:51:07.651" v="3245" actId="20577"/>
          <ac:spMkLst>
            <pc:docMk/>
            <pc:sldMk cId="1826387027" sldId="2147138208"/>
            <ac:spMk id="13" creationId="{416717D2-C129-C4BA-E326-312196736047}"/>
          </ac:spMkLst>
        </pc:spChg>
      </pc:sldChg>
      <pc:sldChg chg="addSp delSp modSp new mod chgLayout">
        <pc:chgData name="Oehrli, Stefan" userId="3f36891e-f853-43e7-bcbc-2879a2513833" providerId="ADAL" clId="{262C7BF4-86F5-CD49-A8E8-3A77A5D2BB22}" dt="2024-06-17T11:41:35.815" v="2778" actId="5793"/>
        <pc:sldMkLst>
          <pc:docMk/>
          <pc:sldMk cId="2070604102" sldId="2147138209"/>
        </pc:sldMkLst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2" creationId="{F8CFDA45-EDE5-B712-732F-5F42E0A4E38E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3" creationId="{0B31D8AB-EF7B-809B-1857-CE32EBE7C92C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4" creationId="{FA513180-2FCE-57F8-27DD-B155738ADA3C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5" creationId="{B08AC496-66BE-601C-9E61-A5FB43899202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6" creationId="{EB1EC2E4-3962-6505-749D-FDA9D9670184}"/>
          </ac:spMkLst>
        </pc:spChg>
        <pc:spChg chg="add mod ord">
          <ac:chgData name="Oehrli, Stefan" userId="3f36891e-f853-43e7-bcbc-2879a2513833" providerId="ADAL" clId="{262C7BF4-86F5-CD49-A8E8-3A77A5D2BB22}" dt="2024-06-17T11:33:57.952" v="2428"/>
          <ac:spMkLst>
            <pc:docMk/>
            <pc:sldMk cId="2070604102" sldId="2147138209"/>
            <ac:spMk id="7" creationId="{776D7566-C180-61E1-2FCA-FC3766DF6DE4}"/>
          </ac:spMkLst>
        </pc:spChg>
        <pc:spChg chg="add mod ord">
          <ac:chgData name="Oehrli, Stefan" userId="3f36891e-f853-43e7-bcbc-2879a2513833" providerId="ADAL" clId="{262C7BF4-86F5-CD49-A8E8-3A77A5D2BB22}" dt="2024-06-17T11:41:35.815" v="2778" actId="5793"/>
          <ac:spMkLst>
            <pc:docMk/>
            <pc:sldMk cId="2070604102" sldId="2147138209"/>
            <ac:spMk id="8" creationId="{8EA27A76-69F8-D510-A846-C44CF22CE67A}"/>
          </ac:spMkLst>
        </pc:spChg>
        <pc:spChg chg="add mod ord">
          <ac:chgData name="Oehrli, Stefan" userId="3f36891e-f853-43e7-bcbc-2879a2513833" providerId="ADAL" clId="{262C7BF4-86F5-CD49-A8E8-3A77A5D2BB22}" dt="2024-06-17T11:34:28.659" v="2433" actId="20577"/>
          <ac:spMkLst>
            <pc:docMk/>
            <pc:sldMk cId="2070604102" sldId="2147138209"/>
            <ac:spMk id="9" creationId="{CD6AEFC0-C316-B855-602B-BF09C6FB7327}"/>
          </ac:spMkLst>
        </pc:spChg>
        <pc:picChg chg="add mod">
          <ac:chgData name="Oehrli, Stefan" userId="3f36891e-f853-43e7-bcbc-2879a2513833" providerId="ADAL" clId="{262C7BF4-86F5-CD49-A8E8-3A77A5D2BB22}" dt="2024-06-17T11:40:50.699" v="2683" actId="1440"/>
          <ac:picMkLst>
            <pc:docMk/>
            <pc:sldMk cId="2070604102" sldId="2147138209"/>
            <ac:picMk id="10" creationId="{DA0FC02F-87E3-37C4-FBAE-6925F530DB32}"/>
          </ac:picMkLst>
        </pc:picChg>
      </pc:sldChg>
      <pc:sldChg chg="addSp delSp modSp add mod addAnim delAnim modAnim">
        <pc:chgData name="Oehrli, Stefan" userId="3f36891e-f853-43e7-bcbc-2879a2513833" providerId="ADAL" clId="{262C7BF4-86F5-CD49-A8E8-3A77A5D2BB22}" dt="2024-06-17T13:24:04.954" v="3901"/>
        <pc:sldMkLst>
          <pc:docMk/>
          <pc:sldMk cId="4029458114" sldId="2147138210"/>
        </pc:sldMkLst>
        <pc:spChg chg="mod">
          <ac:chgData name="Oehrli, Stefan" userId="3f36891e-f853-43e7-bcbc-2879a2513833" providerId="ADAL" clId="{262C7BF4-86F5-CD49-A8E8-3A77A5D2BB22}" dt="2024-06-17T05:38:06.005" v="447"/>
          <ac:spMkLst>
            <pc:docMk/>
            <pc:sldMk cId="4029458114" sldId="2147138210"/>
            <ac:spMk id="7" creationId="{370701DC-A45B-E549-24ED-868B1C20E7F9}"/>
          </ac:spMkLst>
        </pc:spChg>
        <pc:spChg chg="mod">
          <ac:chgData name="Oehrli, Stefan" userId="3f36891e-f853-43e7-bcbc-2879a2513833" providerId="ADAL" clId="{262C7BF4-86F5-CD49-A8E8-3A77A5D2BB22}" dt="2024-06-17T05:39:34.860" v="491"/>
          <ac:spMkLst>
            <pc:docMk/>
            <pc:sldMk cId="4029458114" sldId="2147138210"/>
            <ac:spMk id="8" creationId="{7B7C21A9-BA8E-8035-8AF7-8D125C866046}"/>
          </ac:spMkLst>
        </pc:spChg>
        <pc:spChg chg="mod">
          <ac:chgData name="Oehrli, Stefan" userId="3f36891e-f853-43e7-bcbc-2879a2513833" providerId="ADAL" clId="{262C7BF4-86F5-CD49-A8E8-3A77A5D2BB22}" dt="2024-06-17T05:58:26.578" v="1049" actId="114"/>
          <ac:spMkLst>
            <pc:docMk/>
            <pc:sldMk cId="4029458114" sldId="2147138210"/>
            <ac:spMk id="9" creationId="{92860932-76E1-E164-1A33-41CEDE602802}"/>
          </ac:spMkLst>
        </pc:spChg>
        <pc:picChg chg="add del mod">
          <ac:chgData name="Oehrli, Stefan" userId="3f36891e-f853-43e7-bcbc-2879a2513833" providerId="ADAL" clId="{262C7BF4-86F5-CD49-A8E8-3A77A5D2BB22}" dt="2024-06-17T05:38:12.904" v="451" actId="478"/>
          <ac:picMkLst>
            <pc:docMk/>
            <pc:sldMk cId="4029458114" sldId="2147138210"/>
            <ac:picMk id="3" creationId="{F9E8B32B-B8C3-59EF-245D-9176DA9519A5}"/>
          </ac:picMkLst>
        </pc:picChg>
        <pc:picChg chg="add mod">
          <ac:chgData name="Oehrli, Stefan" userId="3f36891e-f853-43e7-bcbc-2879a2513833" providerId="ADAL" clId="{262C7BF4-86F5-CD49-A8E8-3A77A5D2BB22}" dt="2024-06-17T05:37:49.019" v="443"/>
          <ac:picMkLst>
            <pc:docMk/>
            <pc:sldMk cId="4029458114" sldId="2147138210"/>
            <ac:picMk id="4" creationId="{F61775C2-3042-8D6C-4C2E-43BC06B55185}"/>
          </ac:picMkLst>
        </pc:picChg>
        <pc:picChg chg="del">
          <ac:chgData name="Oehrli, Stefan" userId="3f36891e-f853-43e7-bcbc-2879a2513833" providerId="ADAL" clId="{262C7BF4-86F5-CD49-A8E8-3A77A5D2BB22}" dt="2024-06-17T05:37:43.523" v="440" actId="21"/>
          <ac:picMkLst>
            <pc:docMk/>
            <pc:sldMk cId="4029458114" sldId="2147138210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262C7BF4-86F5-CD49-A8E8-3A77A5D2BB22}" dt="2024-06-17T05:38:28.692" v="457" actId="1076"/>
          <ac:picMkLst>
            <pc:docMk/>
            <pc:sldMk cId="4029458114" sldId="2147138210"/>
            <ac:picMk id="19" creationId="{5B4FC075-4F81-DA69-730F-84B41EA31162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08:38:48.324" v="1138" actId="5793"/>
        <pc:sldMkLst>
          <pc:docMk/>
          <pc:sldMk cId="3920533897" sldId="2147138211"/>
        </pc:sldMkLst>
        <pc:spChg chg="mod">
          <ac:chgData name="Oehrli, Stefan" userId="3f36891e-f853-43e7-bcbc-2879a2513833" providerId="ADAL" clId="{262C7BF4-86F5-CD49-A8E8-3A77A5D2BB22}" dt="2024-06-17T08:37:53.834" v="1132" actId="20577"/>
          <ac:spMkLst>
            <pc:docMk/>
            <pc:sldMk cId="3920533897" sldId="2147138211"/>
            <ac:spMk id="2" creationId="{A36F5AD9-10D8-BC44-0FF3-C76E7E9A87E4}"/>
          </ac:spMkLst>
        </pc:spChg>
        <pc:spChg chg="del">
          <ac:chgData name="Oehrli, Stefan" userId="3f36891e-f853-43e7-bcbc-2879a2513833" providerId="ADAL" clId="{262C7BF4-86F5-CD49-A8E8-3A77A5D2BB22}" dt="2024-06-17T08:31:09.643" v="1062"/>
          <ac:spMkLst>
            <pc:docMk/>
            <pc:sldMk cId="3920533897" sldId="2147138211"/>
            <ac:spMk id="3" creationId="{2EC3D5E1-11BA-BE0B-E92C-628BB47C797F}"/>
          </ac:spMkLst>
        </pc:spChg>
        <pc:spChg chg="del">
          <ac:chgData name="Oehrli, Stefan" userId="3f36891e-f853-43e7-bcbc-2879a2513833" providerId="ADAL" clId="{262C7BF4-86F5-CD49-A8E8-3A77A5D2BB22}" dt="2024-06-17T08:28:48.829" v="1054"/>
          <ac:spMkLst>
            <pc:docMk/>
            <pc:sldMk cId="3920533897" sldId="2147138211"/>
            <ac:spMk id="4" creationId="{9A125643-D374-222A-DF23-8483B60A0C3D}"/>
          </ac:spMkLst>
        </pc:spChg>
        <pc:spChg chg="mod">
          <ac:chgData name="Oehrli, Stefan" userId="3f36891e-f853-43e7-bcbc-2879a2513833" providerId="ADAL" clId="{262C7BF4-86F5-CD49-A8E8-3A77A5D2BB22}" dt="2024-06-17T08:38:48.324" v="1138" actId="5793"/>
          <ac:spMkLst>
            <pc:docMk/>
            <pc:sldMk cId="3920533897" sldId="2147138211"/>
            <ac:spMk id="6" creationId="{4313CE09-F1B2-655C-F772-CB52A35357C2}"/>
          </ac:spMkLst>
        </pc:spChg>
        <pc:spChg chg="add del mod">
          <ac:chgData name="Oehrli, Stefan" userId="3f36891e-f853-43e7-bcbc-2879a2513833" providerId="ADAL" clId="{262C7BF4-86F5-CD49-A8E8-3A77A5D2BB22}" dt="2024-06-17T08:28:50.528" v="1055"/>
          <ac:spMkLst>
            <pc:docMk/>
            <pc:sldMk cId="3920533897" sldId="2147138211"/>
            <ac:spMk id="8" creationId="{08A0D8CF-C178-2374-33B2-6C31F91E42A7}"/>
          </ac:spMkLst>
        </pc:spChg>
        <pc:spChg chg="add del mod">
          <ac:chgData name="Oehrli, Stefan" userId="3f36891e-f853-43e7-bcbc-2879a2513833" providerId="ADAL" clId="{262C7BF4-86F5-CD49-A8E8-3A77A5D2BB22}" dt="2024-06-17T08:28:55.354" v="1056"/>
          <ac:spMkLst>
            <pc:docMk/>
            <pc:sldMk cId="3920533897" sldId="2147138211"/>
            <ac:spMk id="9" creationId="{6FF15F16-0220-3610-06D6-84401626E5E1}"/>
          </ac:spMkLst>
        </pc:spChg>
        <pc:spChg chg="add del mod">
          <ac:chgData name="Oehrli, Stefan" userId="3f36891e-f853-43e7-bcbc-2879a2513833" providerId="ADAL" clId="{262C7BF4-86F5-CD49-A8E8-3A77A5D2BB22}" dt="2024-06-17T08:28:58.998" v="1057"/>
          <ac:spMkLst>
            <pc:docMk/>
            <pc:sldMk cId="3920533897" sldId="2147138211"/>
            <ac:spMk id="10" creationId="{1C2D6D46-786C-333F-7E9C-66979B44BD7B}"/>
          </ac:spMkLst>
        </pc:spChg>
        <pc:spChg chg="add del mod">
          <ac:chgData name="Oehrli, Stefan" userId="3f36891e-f853-43e7-bcbc-2879a2513833" providerId="ADAL" clId="{262C7BF4-86F5-CD49-A8E8-3A77A5D2BB22}" dt="2024-06-17T08:29:06.772" v="1058"/>
          <ac:spMkLst>
            <pc:docMk/>
            <pc:sldMk cId="3920533897" sldId="2147138211"/>
            <ac:spMk id="11" creationId="{63DF92E3-5B75-D14E-63DE-BA3D8590EF2B}"/>
          </ac:spMkLst>
        </pc:spChg>
        <pc:spChg chg="add mod">
          <ac:chgData name="Oehrli, Stefan" userId="3f36891e-f853-43e7-bcbc-2879a2513833" providerId="ADAL" clId="{262C7BF4-86F5-CD49-A8E8-3A77A5D2BB22}" dt="2024-06-17T08:37:22.903" v="1108" actId="20577"/>
          <ac:spMkLst>
            <pc:docMk/>
            <pc:sldMk cId="3920533897" sldId="2147138211"/>
            <ac:spMk id="12" creationId="{01B9A350-814E-0973-F16B-3A8DF81B4DE4}"/>
          </ac:spMkLst>
        </pc:spChg>
        <pc:picChg chg="add mod">
          <ac:chgData name="Oehrli, Stefan" userId="3f36891e-f853-43e7-bcbc-2879a2513833" providerId="ADAL" clId="{262C7BF4-86F5-CD49-A8E8-3A77A5D2BB22}" dt="2024-06-17T08:37:25.787" v="1109" actId="1076"/>
          <ac:picMkLst>
            <pc:docMk/>
            <pc:sldMk cId="3920533897" sldId="2147138211"/>
            <ac:picMk id="13" creationId="{58208DD4-ACF0-E2C7-9FA4-F963D564462D}"/>
          </ac:picMkLst>
        </pc:picChg>
        <pc:picChg chg="add mod modCrop">
          <ac:chgData name="Oehrli, Stefan" userId="3f36891e-f853-43e7-bcbc-2879a2513833" providerId="ADAL" clId="{262C7BF4-86F5-CD49-A8E8-3A77A5D2BB22}" dt="2024-06-17T08:31:46.610" v="1066" actId="1440"/>
          <ac:picMkLst>
            <pc:docMk/>
            <pc:sldMk cId="3920533897" sldId="2147138211"/>
            <ac:picMk id="14" creationId="{E98588BF-7691-5094-7590-A1BFE2589CEF}"/>
          </ac:picMkLst>
        </pc:picChg>
      </pc:sldChg>
      <pc:sldChg chg="add">
        <pc:chgData name="Oehrli, Stefan" userId="3f36891e-f853-43e7-bcbc-2879a2513833" providerId="ADAL" clId="{262C7BF4-86F5-CD49-A8E8-3A77A5D2BB22}" dt="2024-06-17T08:46:08.456" v="1143" actId="2890"/>
        <pc:sldMkLst>
          <pc:docMk/>
          <pc:sldMk cId="704376869" sldId="2147138212"/>
        </pc:sldMkLst>
      </pc:sldChg>
      <pc:sldChg chg="addSp modSp new mod">
        <pc:chgData name="Oehrli, Stefan" userId="3f36891e-f853-43e7-bcbc-2879a2513833" providerId="ADAL" clId="{262C7BF4-86F5-CD49-A8E8-3A77A5D2BB22}" dt="2024-06-17T09:32:13.922" v="2044" actId="1076"/>
        <pc:sldMkLst>
          <pc:docMk/>
          <pc:sldMk cId="955525368" sldId="2147138213"/>
        </pc:sldMkLst>
        <pc:spChg chg="mod">
          <ac:chgData name="Oehrli, Stefan" userId="3f36891e-f853-43e7-bcbc-2879a2513833" providerId="ADAL" clId="{262C7BF4-86F5-CD49-A8E8-3A77A5D2BB22}" dt="2024-06-17T09:03:21.712" v="1221"/>
          <ac:spMkLst>
            <pc:docMk/>
            <pc:sldMk cId="955525368" sldId="2147138213"/>
            <ac:spMk id="2" creationId="{07AB36A7-7A95-15C7-65CD-1E7A3D85D409}"/>
          </ac:spMkLst>
        </pc:spChg>
        <pc:spChg chg="mod">
          <ac:chgData name="Oehrli, Stefan" userId="3f36891e-f853-43e7-bcbc-2879a2513833" providerId="ADAL" clId="{262C7BF4-86F5-CD49-A8E8-3A77A5D2BB22}" dt="2024-06-17T09:10:28.350" v="1634"/>
          <ac:spMkLst>
            <pc:docMk/>
            <pc:sldMk cId="955525368" sldId="2147138213"/>
            <ac:spMk id="3" creationId="{31CB8383-7FEF-020F-CAF5-1C9E96472BB1}"/>
          </ac:spMkLst>
        </pc:spChg>
        <pc:spChg chg="mod">
          <ac:chgData name="Oehrli, Stefan" userId="3f36891e-f853-43e7-bcbc-2879a2513833" providerId="ADAL" clId="{262C7BF4-86F5-CD49-A8E8-3A77A5D2BB22}" dt="2024-06-17T09:03:17.001" v="1220" actId="20577"/>
          <ac:spMkLst>
            <pc:docMk/>
            <pc:sldMk cId="955525368" sldId="2147138213"/>
            <ac:spMk id="4" creationId="{36F27975-E574-DB7C-06BB-EA51F0CBF044}"/>
          </ac:spMkLst>
        </pc:spChg>
        <pc:picChg chg="add mod">
          <ac:chgData name="Oehrli, Stefan" userId="3f36891e-f853-43e7-bcbc-2879a2513833" providerId="ADAL" clId="{262C7BF4-86F5-CD49-A8E8-3A77A5D2BB22}" dt="2024-06-17T09:32:13.922" v="2044" actId="1076"/>
          <ac:picMkLst>
            <pc:docMk/>
            <pc:sldMk cId="955525368" sldId="2147138213"/>
            <ac:picMk id="7" creationId="{098AC65C-050B-C6CA-C1B3-298E87490168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2:52:36.079" v="3284" actId="1076"/>
        <pc:sldMkLst>
          <pc:docMk/>
          <pc:sldMk cId="989959712" sldId="2147138214"/>
        </pc:sldMkLst>
        <pc:spChg chg="mod">
          <ac:chgData name="Oehrli, Stefan" userId="3f36891e-f853-43e7-bcbc-2879a2513833" providerId="ADAL" clId="{262C7BF4-86F5-CD49-A8E8-3A77A5D2BB22}" dt="2024-06-17T12:51:58.097" v="3280"/>
          <ac:spMkLst>
            <pc:docMk/>
            <pc:sldMk cId="989959712" sldId="2147138214"/>
            <ac:spMk id="2" creationId="{E3160FDC-6D48-1CEA-85F0-1C59A78A1F9A}"/>
          </ac:spMkLst>
        </pc:spChg>
        <pc:spChg chg="del mod">
          <ac:chgData name="Oehrli, Stefan" userId="3f36891e-f853-43e7-bcbc-2879a2513833" providerId="ADAL" clId="{262C7BF4-86F5-CD49-A8E8-3A77A5D2BB22}" dt="2024-06-17T12:52:27.109" v="3281"/>
          <ac:spMkLst>
            <pc:docMk/>
            <pc:sldMk cId="989959712" sldId="2147138214"/>
            <ac:spMk id="3" creationId="{F26004C9-9BB0-5724-A061-1EB3455EBFA4}"/>
          </ac:spMkLst>
        </pc:spChg>
        <pc:spChg chg="mod">
          <ac:chgData name="Oehrli, Stefan" userId="3f36891e-f853-43e7-bcbc-2879a2513833" providerId="ADAL" clId="{262C7BF4-86F5-CD49-A8E8-3A77A5D2BB22}" dt="2024-06-17T12:45:43.607" v="3120"/>
          <ac:spMkLst>
            <pc:docMk/>
            <pc:sldMk cId="989959712" sldId="2147138214"/>
            <ac:spMk id="4" creationId="{7DD9C46A-4852-6BCE-BCFF-84059F489FEC}"/>
          </ac:spMkLst>
        </pc:spChg>
        <pc:picChg chg="add mod">
          <ac:chgData name="Oehrli, Stefan" userId="3f36891e-f853-43e7-bcbc-2879a2513833" providerId="ADAL" clId="{262C7BF4-86F5-CD49-A8E8-3A77A5D2BB22}" dt="2024-06-17T12:52:36.079" v="3284" actId="1076"/>
          <ac:picMkLst>
            <pc:docMk/>
            <pc:sldMk cId="989959712" sldId="2147138214"/>
            <ac:picMk id="7" creationId="{32BAA13B-6563-21BD-8630-D2E30E46A310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13:13.184" v="2266" actId="207"/>
        <pc:sldMkLst>
          <pc:docMk/>
          <pc:sldMk cId="2385701130" sldId="2147138215"/>
        </pc:sldMkLst>
        <pc:spChg chg="mod">
          <ac:chgData name="Oehrli, Stefan" userId="3f36891e-f853-43e7-bcbc-2879a2513833" providerId="ADAL" clId="{262C7BF4-86F5-CD49-A8E8-3A77A5D2BB22}" dt="2024-06-17T11:09:24.443" v="2070" actId="20577"/>
          <ac:spMkLst>
            <pc:docMk/>
            <pc:sldMk cId="2385701130" sldId="2147138215"/>
            <ac:spMk id="2" creationId="{5DC0F130-8AAF-DC78-C713-B9BAB6417BF2}"/>
          </ac:spMkLst>
        </pc:spChg>
        <pc:spChg chg="del mod">
          <ac:chgData name="Oehrli, Stefan" userId="3f36891e-f853-43e7-bcbc-2879a2513833" providerId="ADAL" clId="{262C7BF4-86F5-CD49-A8E8-3A77A5D2BB22}" dt="2024-06-17T11:09:14.351" v="2049"/>
          <ac:spMkLst>
            <pc:docMk/>
            <pc:sldMk cId="2385701130" sldId="2147138215"/>
            <ac:spMk id="3" creationId="{8533CDFF-AFC1-CEC9-D223-24668C83B559}"/>
          </ac:spMkLst>
        </pc:spChg>
        <pc:spChg chg="mod">
          <ac:chgData name="Oehrli, Stefan" userId="3f36891e-f853-43e7-bcbc-2879a2513833" providerId="ADAL" clId="{262C7BF4-86F5-CD49-A8E8-3A77A5D2BB22}" dt="2024-06-17T11:09:31.522" v="2091" actId="20577"/>
          <ac:spMkLst>
            <pc:docMk/>
            <pc:sldMk cId="2385701130" sldId="2147138215"/>
            <ac:spMk id="4" creationId="{26B7EB10-E642-50CC-8D8D-81C41478FF4D}"/>
          </ac:spMkLst>
        </pc:spChg>
        <pc:spChg chg="add mod">
          <ac:chgData name="Oehrli, Stefan" userId="3f36891e-f853-43e7-bcbc-2879a2513833" providerId="ADAL" clId="{262C7BF4-86F5-CD49-A8E8-3A77A5D2BB22}" dt="2024-06-17T11:13:13.184" v="2266" actId="207"/>
          <ac:spMkLst>
            <pc:docMk/>
            <pc:sldMk cId="2385701130" sldId="2147138215"/>
            <ac:spMk id="9" creationId="{37A517CF-DDE9-A547-AA82-5991161720F5}"/>
          </ac:spMkLst>
        </pc:spChg>
        <pc:picChg chg="add mod">
          <ac:chgData name="Oehrli, Stefan" userId="3f36891e-f853-43e7-bcbc-2879a2513833" providerId="ADAL" clId="{262C7BF4-86F5-CD49-A8E8-3A77A5D2BB22}" dt="2024-06-17T11:09:39.033" v="2093" actId="1076"/>
          <ac:picMkLst>
            <pc:docMk/>
            <pc:sldMk cId="2385701130" sldId="2147138215"/>
            <ac:picMk id="8" creationId="{4A89EC64-66B9-2ECF-48CE-D260AD7B6EAF}"/>
          </ac:picMkLst>
        </pc:picChg>
      </pc:sldChg>
      <pc:sldChg chg="addSp delSp modSp new mod modAnim modNotes">
        <pc:chgData name="Oehrli, Stefan" userId="3f36891e-f853-43e7-bcbc-2879a2513833" providerId="ADAL" clId="{262C7BF4-86F5-CD49-A8E8-3A77A5D2BB22}" dt="2024-06-17T11:18:39.846" v="2285" actId="1440"/>
        <pc:sldMkLst>
          <pc:docMk/>
          <pc:sldMk cId="614591922" sldId="2147138216"/>
        </pc:sldMkLst>
        <pc:spChg chg="mod">
          <ac:chgData name="Oehrli, Stefan" userId="3f36891e-f853-43e7-bcbc-2879a2513833" providerId="ADAL" clId="{262C7BF4-86F5-CD49-A8E8-3A77A5D2BB22}" dt="2024-06-17T11:10:37.652" v="2167" actId="20577"/>
          <ac:spMkLst>
            <pc:docMk/>
            <pc:sldMk cId="614591922" sldId="2147138216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2:43.076" v="2238"/>
          <ac:spMkLst>
            <pc:docMk/>
            <pc:sldMk cId="614591922" sldId="2147138216"/>
            <ac:spMk id="3" creationId="{B6860DA1-9BE8-A6A8-A30B-A517C61621F3}"/>
          </ac:spMkLst>
        </pc:spChg>
        <pc:spChg chg="mod">
          <ac:chgData name="Oehrli, Stefan" userId="3f36891e-f853-43e7-bcbc-2879a2513833" providerId="ADAL" clId="{262C7BF4-86F5-CD49-A8E8-3A77A5D2BB22}" dt="2024-06-17T11:12:07.818" v="2237" actId="20577"/>
          <ac:spMkLst>
            <pc:docMk/>
            <pc:sldMk cId="614591922" sldId="2147138216"/>
            <ac:spMk id="4" creationId="{16FB163C-F6DB-24DF-39A5-079283F7AA9A}"/>
          </ac:spMkLst>
        </pc:spChg>
        <pc:spChg chg="add mod">
          <ac:chgData name="Oehrli, Stefan" userId="3f36891e-f853-43e7-bcbc-2879a2513833" providerId="ADAL" clId="{262C7BF4-86F5-CD49-A8E8-3A77A5D2BB22}" dt="2024-06-17T11:13:18.878" v="2267" actId="207"/>
          <ac:spMkLst>
            <pc:docMk/>
            <pc:sldMk cId="614591922" sldId="2147138216"/>
            <ac:spMk id="8" creationId="{3616FDED-C5D5-5E90-A39F-61D1FF7AC822}"/>
          </ac:spMkLst>
        </pc:spChg>
        <pc:picChg chg="add mod">
          <ac:chgData name="Oehrli, Stefan" userId="3f36891e-f853-43e7-bcbc-2879a2513833" providerId="ADAL" clId="{262C7BF4-86F5-CD49-A8E8-3A77A5D2BB22}" dt="2024-06-17T11:12:44.894" v="2239" actId="14100"/>
          <ac:picMkLst>
            <pc:docMk/>
            <pc:sldMk cId="614591922" sldId="2147138216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39.846" v="2285" actId="1440"/>
          <ac:picMkLst>
            <pc:docMk/>
            <pc:sldMk cId="614591922" sldId="2147138216"/>
            <ac:picMk id="9" creationId="{C29B9BE4-B161-C43B-DE7E-84E010F998DD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1:18:52.889" v="2295" actId="20577"/>
        <pc:sldMkLst>
          <pc:docMk/>
          <pc:sldMk cId="2773844335" sldId="2147138217"/>
        </pc:sldMkLst>
        <pc:spChg chg="mod">
          <ac:chgData name="Oehrli, Stefan" userId="3f36891e-f853-43e7-bcbc-2879a2513833" providerId="ADAL" clId="{262C7BF4-86F5-CD49-A8E8-3A77A5D2BB22}" dt="2024-06-17T11:18:52.889" v="2295" actId="20577"/>
          <ac:spMkLst>
            <pc:docMk/>
            <pc:sldMk cId="2773844335" sldId="2147138217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3:39.916" v="2273" actId="478"/>
          <ac:spMkLst>
            <pc:docMk/>
            <pc:sldMk cId="2773844335" sldId="2147138217"/>
            <ac:spMk id="8" creationId="{3616FDED-C5D5-5E90-A39F-61D1FF7AC822}"/>
          </ac:spMkLst>
        </pc:spChg>
        <pc:spChg chg="add del mod">
          <ac:chgData name="Oehrli, Stefan" userId="3f36891e-f853-43e7-bcbc-2879a2513833" providerId="ADAL" clId="{262C7BF4-86F5-CD49-A8E8-3A77A5D2BB22}" dt="2024-06-17T11:13:38.466" v="2272" actId="478"/>
          <ac:spMkLst>
            <pc:docMk/>
            <pc:sldMk cId="2773844335" sldId="2147138217"/>
            <ac:spMk id="9" creationId="{8AB5AFB2-396C-8A33-5A3A-90564CE7E783}"/>
          </ac:spMkLst>
        </pc:spChg>
        <pc:spChg chg="add del mod">
          <ac:chgData name="Oehrli, Stefan" userId="3f36891e-f853-43e7-bcbc-2879a2513833" providerId="ADAL" clId="{262C7BF4-86F5-CD49-A8E8-3A77A5D2BB22}" dt="2024-06-17T11:18:31.655" v="2281"/>
          <ac:spMkLst>
            <pc:docMk/>
            <pc:sldMk cId="2773844335" sldId="2147138217"/>
            <ac:spMk id="11" creationId="{8D115B9F-7399-608A-6196-BA0EE806AF1A}"/>
          </ac:spMkLst>
        </pc:spChg>
        <pc:picChg chg="add del">
          <ac:chgData name="Oehrli, Stefan" userId="3f36891e-f853-43e7-bcbc-2879a2513833" providerId="ADAL" clId="{262C7BF4-86F5-CD49-A8E8-3A77A5D2BB22}" dt="2024-06-17T11:13:41.113" v="2274" actId="478"/>
          <ac:picMkLst>
            <pc:docMk/>
            <pc:sldMk cId="2773844335" sldId="2147138217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27.029" v="2280"/>
          <ac:picMkLst>
            <pc:docMk/>
            <pc:sldMk cId="2773844335" sldId="2147138217"/>
            <ac:picMk id="12" creationId="{82EFB2FD-AF74-CFC2-1F37-F8701E1E6B11}"/>
          </ac:picMkLst>
        </pc:picChg>
        <pc:picChg chg="add mod">
          <ac:chgData name="Oehrli, Stefan" userId="3f36891e-f853-43e7-bcbc-2879a2513833" providerId="ADAL" clId="{262C7BF4-86F5-CD49-A8E8-3A77A5D2BB22}" dt="2024-06-17T11:18:35.544" v="2284" actId="962"/>
          <ac:picMkLst>
            <pc:docMk/>
            <pc:sldMk cId="2773844335" sldId="2147138217"/>
            <ac:picMk id="14" creationId="{F871682A-7FE1-80F6-A79B-26741EFC4265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20:32.322" v="2366" actId="207"/>
        <pc:sldMkLst>
          <pc:docMk/>
          <pc:sldMk cId="2620656052" sldId="2147138218"/>
        </pc:sldMkLst>
        <pc:spChg chg="mod">
          <ac:chgData name="Oehrli, Stefan" userId="3f36891e-f853-43e7-bcbc-2879a2513833" providerId="ADAL" clId="{262C7BF4-86F5-CD49-A8E8-3A77A5D2BB22}" dt="2024-06-17T11:20:08.470" v="2324" actId="20577"/>
          <ac:spMkLst>
            <pc:docMk/>
            <pc:sldMk cId="2620656052" sldId="2147138218"/>
            <ac:spMk id="2" creationId="{51476560-D8B3-981F-30EF-89F7A2C5AD54}"/>
          </ac:spMkLst>
        </pc:spChg>
        <pc:spChg chg="del">
          <ac:chgData name="Oehrli, Stefan" userId="3f36891e-f853-43e7-bcbc-2879a2513833" providerId="ADAL" clId="{262C7BF4-86F5-CD49-A8E8-3A77A5D2BB22}" dt="2024-06-17T11:19:56.381" v="2297"/>
          <ac:spMkLst>
            <pc:docMk/>
            <pc:sldMk cId="2620656052" sldId="2147138218"/>
            <ac:spMk id="3" creationId="{19744DA5-92FC-2DBA-98F2-A9196590D09B}"/>
          </ac:spMkLst>
        </pc:spChg>
        <pc:spChg chg="mod">
          <ac:chgData name="Oehrli, Stefan" userId="3f36891e-f853-43e7-bcbc-2879a2513833" providerId="ADAL" clId="{262C7BF4-86F5-CD49-A8E8-3A77A5D2BB22}" dt="2024-06-17T11:20:19.354" v="2364" actId="20577"/>
          <ac:spMkLst>
            <pc:docMk/>
            <pc:sldMk cId="2620656052" sldId="2147138218"/>
            <ac:spMk id="4" creationId="{0F06EBF3-7142-8023-A938-E8D6522C0D0E}"/>
          </ac:spMkLst>
        </pc:spChg>
        <pc:spChg chg="add mod">
          <ac:chgData name="Oehrli, Stefan" userId="3f36891e-f853-43e7-bcbc-2879a2513833" providerId="ADAL" clId="{262C7BF4-86F5-CD49-A8E8-3A77A5D2BB22}" dt="2024-06-17T11:20:32.322" v="2366" actId="207"/>
          <ac:spMkLst>
            <pc:docMk/>
            <pc:sldMk cId="2620656052" sldId="2147138218"/>
            <ac:spMk id="8" creationId="{9E02FEB1-313A-4E05-669F-74118FB0464C}"/>
          </ac:spMkLst>
        </pc:spChg>
        <pc:picChg chg="add mod">
          <ac:chgData name="Oehrli, Stefan" userId="3f36891e-f853-43e7-bcbc-2879a2513833" providerId="ADAL" clId="{262C7BF4-86F5-CD49-A8E8-3A77A5D2BB22}" dt="2024-06-17T11:20:00.962" v="2298" actId="1440"/>
          <ac:picMkLst>
            <pc:docMk/>
            <pc:sldMk cId="2620656052" sldId="2147138218"/>
            <ac:picMk id="7" creationId="{1FF70D3C-9B0D-D40D-589B-12CD029A02EB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33:32.179" v="2427" actId="20577"/>
        <pc:sldMkLst>
          <pc:docMk/>
          <pc:sldMk cId="1976441411" sldId="2147138219"/>
        </pc:sldMkLst>
        <pc:spChg chg="mod">
          <ac:chgData name="Oehrli, Stefan" userId="3f36891e-f853-43e7-bcbc-2879a2513833" providerId="ADAL" clId="{262C7BF4-86F5-CD49-A8E8-3A77A5D2BB22}" dt="2024-06-17T11:33:24.672" v="2401" actId="20577"/>
          <ac:spMkLst>
            <pc:docMk/>
            <pc:sldMk cId="1976441411" sldId="2147138219"/>
            <ac:spMk id="2" creationId="{002AFA19-48B5-50F0-5A97-7BFC519E3684}"/>
          </ac:spMkLst>
        </pc:spChg>
        <pc:spChg chg="del mod">
          <ac:chgData name="Oehrli, Stefan" userId="3f36891e-f853-43e7-bcbc-2879a2513833" providerId="ADAL" clId="{262C7BF4-86F5-CD49-A8E8-3A77A5D2BB22}" dt="2024-06-17T11:33:08.533" v="2370"/>
          <ac:spMkLst>
            <pc:docMk/>
            <pc:sldMk cId="1976441411" sldId="2147138219"/>
            <ac:spMk id="3" creationId="{37F629EC-B20B-1F60-9D08-A632540BF578}"/>
          </ac:spMkLst>
        </pc:spChg>
        <pc:spChg chg="mod">
          <ac:chgData name="Oehrli, Stefan" userId="3f36891e-f853-43e7-bcbc-2879a2513833" providerId="ADAL" clId="{262C7BF4-86F5-CD49-A8E8-3A77A5D2BB22}" dt="2024-06-17T11:33:32.179" v="2427" actId="20577"/>
          <ac:spMkLst>
            <pc:docMk/>
            <pc:sldMk cId="1976441411" sldId="2147138219"/>
            <ac:spMk id="4" creationId="{25A44455-AE52-1113-52F9-496DB3BE4B08}"/>
          </ac:spMkLst>
        </pc:spChg>
        <pc:picChg chg="add mod">
          <ac:chgData name="Oehrli, Stefan" userId="3f36891e-f853-43e7-bcbc-2879a2513833" providerId="ADAL" clId="{262C7BF4-86F5-CD49-A8E8-3A77A5D2BB22}" dt="2024-06-17T11:33:14.366" v="2375" actId="1440"/>
          <ac:picMkLst>
            <pc:docMk/>
            <pc:sldMk cId="1976441411" sldId="2147138219"/>
            <ac:picMk id="8" creationId="{A86D0B7F-819E-5273-5058-043B215ACAB1}"/>
          </ac:picMkLst>
        </pc:picChg>
      </pc:sldChg>
      <pc:sldChg chg="addSp delSp modSp new mod modClrScheme chgLayout">
        <pc:chgData name="Oehrli, Stefan" userId="3f36891e-f853-43e7-bcbc-2879a2513833" providerId="ADAL" clId="{262C7BF4-86F5-CD49-A8E8-3A77A5D2BB22}" dt="2024-06-17T12:44:02.481" v="3024" actId="1076"/>
        <pc:sldMkLst>
          <pc:docMk/>
          <pc:sldMk cId="1314013640" sldId="2147138220"/>
        </pc:sldMkLst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2" creationId="{7B77B0E8-58DD-D2A1-5FCB-05FF7A9D01D5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3" creationId="{8E13DF6F-3CF9-2563-97A4-211EF4DA6608}"/>
          </ac:spMkLst>
        </pc:spChg>
        <pc:spChg chg="del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4" creationId="{2FD41B9E-758B-CC47-6ADF-B0806A7D0ECB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5" creationId="{7A1F44DE-4BB6-D7ED-6E10-D33EB7A158BA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6" creationId="{E19F2409-0E66-467A-731F-010D46DD3A35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7" creationId="{7F613F2D-1892-4F74-9077-1A20E2362420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8" creationId="{C181DE9D-79F5-DCC7-FB45-CCBD91A6168D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9" creationId="{1E45E771-195B-AE68-5FA7-907FEB0EE10B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10" creationId="{418BE84F-47A8-5BFB-0A94-CFB6724829EF}"/>
          </ac:spMkLst>
        </pc:spChg>
        <pc:spChg chg="add mod ord">
          <ac:chgData name="Oehrli, Stefan" userId="3f36891e-f853-43e7-bcbc-2879a2513833" providerId="ADAL" clId="{262C7BF4-86F5-CD49-A8E8-3A77A5D2BB22}" dt="2024-06-17T12:39:10.396" v="2814"/>
          <ac:spMkLst>
            <pc:docMk/>
            <pc:sldMk cId="1314013640" sldId="2147138220"/>
            <ac:spMk id="11" creationId="{6D0D4BEF-9776-A6AC-D9A6-67A600E284C7}"/>
          </ac:spMkLst>
        </pc:spChg>
        <pc:spChg chg="add mod ord">
          <ac:chgData name="Oehrli, Stefan" userId="3f36891e-f853-43e7-bcbc-2879a2513833" providerId="ADAL" clId="{262C7BF4-86F5-CD49-A8E8-3A77A5D2BB22}" dt="2024-06-17T12:43:57.363" v="3023" actId="113"/>
          <ac:spMkLst>
            <pc:docMk/>
            <pc:sldMk cId="1314013640" sldId="2147138220"/>
            <ac:spMk id="12" creationId="{82774E65-2DB0-C487-A97C-68657EC1EB43}"/>
          </ac:spMkLst>
        </pc:spChg>
        <pc:spChg chg="add mod ord">
          <ac:chgData name="Oehrli, Stefan" userId="3f36891e-f853-43e7-bcbc-2879a2513833" providerId="ADAL" clId="{262C7BF4-86F5-CD49-A8E8-3A77A5D2BB22}" dt="2024-06-17T12:39:18.368" v="2841" actId="20577"/>
          <ac:spMkLst>
            <pc:docMk/>
            <pc:sldMk cId="1314013640" sldId="2147138220"/>
            <ac:spMk id="13" creationId="{DE3C6942-B1F5-C514-8331-37B8D7A61B39}"/>
          </ac:spMkLst>
        </pc:spChg>
        <pc:spChg chg="add del mod ord">
          <ac:chgData name="Oehrli, Stefan" userId="3f36891e-f853-43e7-bcbc-2879a2513833" providerId="ADAL" clId="{262C7BF4-86F5-CD49-A8E8-3A77A5D2BB22}" dt="2024-06-17T12:31:13.235" v="2784"/>
          <ac:spMkLst>
            <pc:docMk/>
            <pc:sldMk cId="1314013640" sldId="2147138220"/>
            <ac:spMk id="14" creationId="{F03FF957-6C7E-A5AE-6A39-6D715392A3AC}"/>
          </ac:spMkLst>
        </pc:spChg>
        <pc:spChg chg="add del mod">
          <ac:chgData name="Oehrli, Stefan" userId="3f36891e-f853-43e7-bcbc-2879a2513833" providerId="ADAL" clId="{262C7BF4-86F5-CD49-A8E8-3A77A5D2BB22}" dt="2024-06-17T12:38:21.283" v="2786"/>
          <ac:spMkLst>
            <pc:docMk/>
            <pc:sldMk cId="1314013640" sldId="2147138220"/>
            <ac:spMk id="17" creationId="{98E6385E-9566-28D4-4FD5-AD4CCE1F33AE}"/>
          </ac:spMkLst>
        </pc:spChg>
        <pc:spChg chg="add del mod">
          <ac:chgData name="Oehrli, Stefan" userId="3f36891e-f853-43e7-bcbc-2879a2513833" providerId="ADAL" clId="{262C7BF4-86F5-CD49-A8E8-3A77A5D2BB22}" dt="2024-06-17T12:42:33.985" v="2993"/>
          <ac:spMkLst>
            <pc:docMk/>
            <pc:sldMk cId="1314013640" sldId="2147138220"/>
            <ac:spMk id="20" creationId="{1DFEBDD2-B822-A611-21A1-4CA534113EFE}"/>
          </ac:spMkLst>
        </pc:spChg>
        <pc:picChg chg="add del mod">
          <ac:chgData name="Oehrli, Stefan" userId="3f36891e-f853-43e7-bcbc-2879a2513833" providerId="ADAL" clId="{262C7BF4-86F5-CD49-A8E8-3A77A5D2BB22}" dt="2024-06-17T12:38:20.217" v="2785" actId="478"/>
          <ac:picMkLst>
            <pc:docMk/>
            <pc:sldMk cId="1314013640" sldId="2147138220"/>
            <ac:picMk id="15" creationId="{C8B3FDCB-8074-FC10-DAC5-A8BA7A2DD1FB}"/>
          </ac:picMkLst>
        </pc:picChg>
        <pc:picChg chg="add del mod">
          <ac:chgData name="Oehrli, Stefan" userId="3f36891e-f853-43e7-bcbc-2879a2513833" providerId="ADAL" clId="{262C7BF4-86F5-CD49-A8E8-3A77A5D2BB22}" dt="2024-06-17T12:42:19.038" v="2992" actId="478"/>
          <ac:picMkLst>
            <pc:docMk/>
            <pc:sldMk cId="1314013640" sldId="2147138220"/>
            <ac:picMk id="18" creationId="{49C84472-2E8B-63F4-1FBD-5A663DA8CD3A}"/>
          </ac:picMkLst>
        </pc:picChg>
        <pc:picChg chg="add mod">
          <ac:chgData name="Oehrli, Stefan" userId="3f36891e-f853-43e7-bcbc-2879a2513833" providerId="ADAL" clId="{262C7BF4-86F5-CD49-A8E8-3A77A5D2BB22}" dt="2024-06-17T12:44:02.481" v="3024" actId="1076"/>
          <ac:picMkLst>
            <pc:docMk/>
            <pc:sldMk cId="1314013640" sldId="2147138220"/>
            <ac:picMk id="21" creationId="{051DC85D-9DA7-E410-A008-FF710DEA97B2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3:28.796" v="3292" actId="962"/>
        <pc:sldMkLst>
          <pc:docMk/>
          <pc:sldMk cId="795588102" sldId="2147138221"/>
        </pc:sldMkLst>
        <pc:spChg chg="add del mod">
          <ac:chgData name="Oehrli, Stefan" userId="3f36891e-f853-43e7-bcbc-2879a2513833" providerId="ADAL" clId="{262C7BF4-86F5-CD49-A8E8-3A77A5D2BB22}" dt="2024-06-17T12:53:21.719" v="3287"/>
          <ac:spMkLst>
            <pc:docMk/>
            <pc:sldMk cId="795588102" sldId="2147138221"/>
            <ac:spMk id="8" creationId="{788AF783-A1CF-FDEF-D120-45EDDB360160}"/>
          </ac:spMkLst>
        </pc:spChg>
        <pc:picChg chg="del">
          <ac:chgData name="Oehrli, Stefan" userId="3f36891e-f853-43e7-bcbc-2879a2513833" providerId="ADAL" clId="{262C7BF4-86F5-CD49-A8E8-3A77A5D2BB22}" dt="2024-06-17T12:52:41.433" v="3286" actId="478"/>
          <ac:picMkLst>
            <pc:docMk/>
            <pc:sldMk cId="795588102" sldId="2147138221"/>
            <ac:picMk id="7" creationId="{32BAA13B-6563-21BD-8630-D2E30E46A310}"/>
          </ac:picMkLst>
        </pc:picChg>
        <pc:picChg chg="add mod">
          <ac:chgData name="Oehrli, Stefan" userId="3f36891e-f853-43e7-bcbc-2879a2513833" providerId="ADAL" clId="{262C7BF4-86F5-CD49-A8E8-3A77A5D2BB22}" dt="2024-06-17T12:53:28.796" v="3292" actId="962"/>
          <ac:picMkLst>
            <pc:docMk/>
            <pc:sldMk cId="795588102" sldId="2147138221"/>
            <ac:picMk id="10" creationId="{35D3FE43-1BB0-7138-C967-164A64D7EFB9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4:42.207" v="3305" actId="1076"/>
        <pc:sldMkLst>
          <pc:docMk/>
          <pc:sldMk cId="2145004029" sldId="2147138222"/>
        </pc:sldMkLst>
        <pc:spChg chg="add del mod">
          <ac:chgData name="Oehrli, Stefan" userId="3f36891e-f853-43e7-bcbc-2879a2513833" providerId="ADAL" clId="{262C7BF4-86F5-CD49-A8E8-3A77A5D2BB22}" dt="2024-06-17T12:54:31.761" v="3300"/>
          <ac:spMkLst>
            <pc:docMk/>
            <pc:sldMk cId="2145004029" sldId="2147138222"/>
            <ac:spMk id="7" creationId="{280D4057-5528-122B-F9FE-6396BC7D8FCD}"/>
          </ac:spMkLst>
        </pc:spChg>
        <pc:picChg chg="add mod">
          <ac:chgData name="Oehrli, Stefan" userId="3f36891e-f853-43e7-bcbc-2879a2513833" providerId="ADAL" clId="{262C7BF4-86F5-CD49-A8E8-3A77A5D2BB22}" dt="2024-06-17T12:54:08.620" v="3299"/>
          <ac:picMkLst>
            <pc:docMk/>
            <pc:sldMk cId="2145004029" sldId="2147138222"/>
            <ac:picMk id="9" creationId="{DA482E46-D128-A265-3EC5-90787365FB5C}"/>
          </ac:picMkLst>
        </pc:picChg>
        <pc:picChg chg="del">
          <ac:chgData name="Oehrli, Stefan" userId="3f36891e-f853-43e7-bcbc-2879a2513833" providerId="ADAL" clId="{262C7BF4-86F5-CD49-A8E8-3A77A5D2BB22}" dt="2024-06-17T12:53:38.863" v="3294" actId="478"/>
          <ac:picMkLst>
            <pc:docMk/>
            <pc:sldMk cId="2145004029" sldId="2147138222"/>
            <ac:picMk id="10" creationId="{35D3FE43-1BB0-7138-C967-164A64D7EFB9}"/>
          </ac:picMkLst>
        </pc:picChg>
        <pc:picChg chg="add mod">
          <ac:chgData name="Oehrli, Stefan" userId="3f36891e-f853-43e7-bcbc-2879a2513833" providerId="ADAL" clId="{262C7BF4-86F5-CD49-A8E8-3A77A5D2BB22}" dt="2024-06-17T12:54:42.207" v="3305" actId="1076"/>
          <ac:picMkLst>
            <pc:docMk/>
            <pc:sldMk cId="2145004029" sldId="2147138222"/>
            <ac:picMk id="12" creationId="{DF53B545-934E-FE18-47A6-F488A649B971}"/>
          </ac:picMkLst>
        </pc:picChg>
      </pc:sldChg>
    </pc:docChg>
  </pc:docChgLst>
  <pc:docChgLst>
    <pc:chgData name="Oehrli, Stefan" userId="3f36891e-f853-43e7-bcbc-2879a2513833" providerId="ADAL" clId="{BEB5DB81-D722-724F-85CE-75021972ADA7}"/>
    <pc:docChg chg="undo custSel addSld delSld modSld sldOrd modSection">
      <pc:chgData name="Oehrli, Stefan" userId="3f36891e-f853-43e7-bcbc-2879a2513833" providerId="ADAL" clId="{BEB5DB81-D722-724F-85CE-75021972ADA7}" dt="2023-04-04T18:33:52.092" v="6260" actId="20577"/>
      <pc:docMkLst>
        <pc:docMk/>
      </pc:docMkLst>
      <pc:sldChg chg="modSp mod">
        <pc:chgData name="Oehrli, Stefan" userId="3f36891e-f853-43e7-bcbc-2879a2513833" providerId="ADAL" clId="{BEB5DB81-D722-724F-85CE-75021972ADA7}" dt="2023-04-03T20:39:26.762" v="129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BEB5DB81-D722-724F-85CE-75021972ADA7}" dt="2023-04-03T20:38:45.488" v="1279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BEB5DB81-D722-724F-85CE-75021972ADA7}" dt="2023-04-03T20:38:44.193" v="1278" actId="21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BEB5DB81-D722-724F-85CE-75021972ADA7}" dt="2023-04-03T20:39:26.762" v="1290" actId="20577"/>
          <ac:spMkLst>
            <pc:docMk/>
            <pc:sldMk cId="3447450657" sldId="344"/>
            <ac:spMk id="10" creationId="{2510B16E-5797-8D5D-1A8B-7AEBFCCACEC2}"/>
          </ac:spMkLst>
        </pc:spChg>
      </pc:sldChg>
      <pc:sldChg chg="mod modShow">
        <pc:chgData name="Oehrli, Stefan" userId="3f36891e-f853-43e7-bcbc-2879a2513833" providerId="ADAL" clId="{BEB5DB81-D722-724F-85CE-75021972ADA7}" dt="2023-04-03T21:43:43.924" v="2892" actId="729"/>
        <pc:sldMkLst>
          <pc:docMk/>
          <pc:sldMk cId="2850394091" sldId="458"/>
        </pc:sldMkLst>
      </pc:sldChg>
      <pc:sldChg chg="modSp mod">
        <pc:chgData name="Oehrli, Stefan" userId="3f36891e-f853-43e7-bcbc-2879a2513833" providerId="ADAL" clId="{BEB5DB81-D722-724F-85CE-75021972ADA7}" dt="2023-04-03T20:38:55.777" v="1280" actId="20577"/>
        <pc:sldMkLst>
          <pc:docMk/>
          <pc:sldMk cId="472890992" sldId="463"/>
        </pc:sldMkLst>
        <pc:spChg chg="mod">
          <ac:chgData name="Oehrli, Stefan" userId="3f36891e-f853-43e7-bcbc-2879a2513833" providerId="ADAL" clId="{BEB5DB81-D722-724F-85CE-75021972ADA7}" dt="2023-04-03T20:38:55.777" v="1280" actId="20577"/>
          <ac:spMkLst>
            <pc:docMk/>
            <pc:sldMk cId="472890992" sldId="463"/>
            <ac:spMk id="3" creationId="{321964B1-400E-60C1-07DD-E5DA125F2DE4}"/>
          </ac:spMkLst>
        </pc:spChg>
      </pc:sldChg>
      <pc:sldChg chg="modSp mod">
        <pc:chgData name="Oehrli, Stefan" userId="3f36891e-f853-43e7-bcbc-2879a2513833" providerId="ADAL" clId="{BEB5DB81-D722-724F-85CE-75021972ADA7}" dt="2023-04-03T20:49:19.881" v="1825"/>
        <pc:sldMkLst>
          <pc:docMk/>
          <pc:sldMk cId="1625272212" sldId="464"/>
        </pc:sldMkLst>
        <pc:spChg chg="mod">
          <ac:chgData name="Oehrli, Stefan" userId="3f36891e-f853-43e7-bcbc-2879a2513833" providerId="ADAL" clId="{BEB5DB81-D722-724F-85CE-75021972ADA7}" dt="2023-04-03T20:39:00.333" v="1282" actId="20577"/>
          <ac:spMkLst>
            <pc:docMk/>
            <pc:sldMk cId="1625272212" sldId="464"/>
            <ac:spMk id="3" creationId="{D13591C9-121C-8337-ED36-8FBC79879363}"/>
          </ac:spMkLst>
        </pc:spChg>
        <pc:spChg chg="mod">
          <ac:chgData name="Oehrli, Stefan" userId="3f36891e-f853-43e7-bcbc-2879a2513833" providerId="ADAL" clId="{BEB5DB81-D722-724F-85CE-75021972ADA7}" dt="2023-04-03T20:49:19.881" v="1825"/>
          <ac:spMkLst>
            <pc:docMk/>
            <pc:sldMk cId="1625272212" sldId="464"/>
            <ac:spMk id="4" creationId="{BA0812C7-5101-1582-9B26-0594EDDF2511}"/>
          </ac:spMkLst>
        </pc:spChg>
      </pc:sldChg>
      <pc:sldChg chg="modSp mod ord">
        <pc:chgData name="Oehrli, Stefan" userId="3f36891e-f853-43e7-bcbc-2879a2513833" providerId="ADAL" clId="{BEB5DB81-D722-724F-85CE-75021972ADA7}" dt="2023-04-03T20:38:09.730" v="1270" actId="20577"/>
        <pc:sldMkLst>
          <pc:docMk/>
          <pc:sldMk cId="3850440555" sldId="465"/>
        </pc:sldMkLst>
        <pc:spChg chg="mod">
          <ac:chgData name="Oehrli, Stefan" userId="3f36891e-f853-43e7-bcbc-2879a2513833" providerId="ADAL" clId="{BEB5DB81-D722-724F-85CE-75021972ADA7}" dt="2023-04-03T20:38:09.730" v="1270" actId="20577"/>
          <ac:spMkLst>
            <pc:docMk/>
            <pc:sldMk cId="3850440555" sldId="465"/>
            <ac:spMk id="3" creationId="{32EC780A-CC4D-8F17-D824-D04A8B01C89D}"/>
          </ac:spMkLst>
        </pc:spChg>
      </pc:sldChg>
      <pc:sldChg chg="modSp mod">
        <pc:chgData name="Oehrli, Stefan" userId="3f36891e-f853-43e7-bcbc-2879a2513833" providerId="ADAL" clId="{BEB5DB81-D722-724F-85CE-75021972ADA7}" dt="2023-04-03T20:39:06.798" v="1287" actId="20577"/>
        <pc:sldMkLst>
          <pc:docMk/>
          <pc:sldMk cId="936731009" sldId="466"/>
        </pc:sldMkLst>
        <pc:spChg chg="mod">
          <ac:chgData name="Oehrli, Stefan" userId="3f36891e-f853-43e7-bcbc-2879a2513833" providerId="ADAL" clId="{BEB5DB81-D722-724F-85CE-75021972ADA7}" dt="2023-04-03T20:39:06.798" v="1287" actId="20577"/>
          <ac:spMkLst>
            <pc:docMk/>
            <pc:sldMk cId="936731009" sldId="466"/>
            <ac:spMk id="3" creationId="{E134B6D7-B842-E873-0FF6-6DFB153E459D}"/>
          </ac:spMkLst>
        </pc:spChg>
      </pc:sldChg>
      <pc:sldChg chg="modSp mod">
        <pc:chgData name="Oehrli, Stefan" userId="3f36891e-f853-43e7-bcbc-2879a2513833" providerId="ADAL" clId="{BEB5DB81-D722-724F-85CE-75021972ADA7}" dt="2023-04-03T20:39:14.595" v="1288" actId="20577"/>
        <pc:sldMkLst>
          <pc:docMk/>
          <pc:sldMk cId="3156609275" sldId="467"/>
        </pc:sldMkLst>
        <pc:spChg chg="mod">
          <ac:chgData name="Oehrli, Stefan" userId="3f36891e-f853-43e7-bcbc-2879a2513833" providerId="ADAL" clId="{BEB5DB81-D722-724F-85CE-75021972ADA7}" dt="2023-04-03T20:39:14.595" v="1288" actId="20577"/>
          <ac:spMkLst>
            <pc:docMk/>
            <pc:sldMk cId="3156609275" sldId="467"/>
            <ac:spMk id="3" creationId="{6FB3999A-3DD6-F5F6-F341-1E8F7EBCF858}"/>
          </ac:spMkLst>
        </pc:spChg>
      </pc:sldChg>
      <pc:sldChg chg="modSp mod">
        <pc:chgData name="Oehrli, Stefan" userId="3f36891e-f853-43e7-bcbc-2879a2513833" providerId="ADAL" clId="{BEB5DB81-D722-724F-85CE-75021972ADA7}" dt="2023-04-03T21:43:21.992" v="2891" actId="122"/>
        <pc:sldMkLst>
          <pc:docMk/>
          <pc:sldMk cId="2714054722" sldId="469"/>
        </pc:sldMkLst>
        <pc:spChg chg="mod">
          <ac:chgData name="Oehrli, Stefan" userId="3f36891e-f853-43e7-bcbc-2879a2513833" providerId="ADAL" clId="{BEB5DB81-D722-724F-85CE-75021972ADA7}" dt="2023-04-03T21:43:21.992" v="2891" actId="122"/>
          <ac:spMkLst>
            <pc:docMk/>
            <pc:sldMk cId="2714054722" sldId="469"/>
            <ac:spMk id="12" creationId="{9DA62D43-749B-A9B4-A7EA-2CF16A7C81B2}"/>
          </ac:spMkLst>
        </pc:spChg>
      </pc:sldChg>
      <pc:sldChg chg="addSp delSp modSp mod modClrScheme modAnim chgLayout">
        <pc:chgData name="Oehrli, Stefan" userId="3f36891e-f853-43e7-bcbc-2879a2513833" providerId="ADAL" clId="{BEB5DB81-D722-724F-85CE-75021972ADA7}" dt="2023-04-04T03:54:02.474" v="3160"/>
        <pc:sldMkLst>
          <pc:docMk/>
          <pc:sldMk cId="1153880397" sldId="470"/>
        </pc:sldMkLst>
        <pc:spChg chg="add del mod ord">
          <ac:chgData name="Oehrli, Stefan" userId="3f36891e-f853-43e7-bcbc-2879a2513833" providerId="ADAL" clId="{BEB5DB81-D722-724F-85CE-75021972ADA7}" dt="2023-04-04T03:53:23.379" v="3157" actId="113"/>
          <ac:spMkLst>
            <pc:docMk/>
            <pc:sldMk cId="1153880397" sldId="470"/>
            <ac:spMk id="2" creationId="{C0801084-F41C-99CB-6C15-5F3EDECF1FC3}"/>
          </ac:spMkLst>
        </pc:spChg>
        <pc:spChg chg="add del mod ord">
          <ac:chgData name="Oehrli, Stefan" userId="3f36891e-f853-43e7-bcbc-2879a2513833" providerId="ADAL" clId="{BEB5DB81-D722-724F-85CE-75021972ADA7}" dt="2023-04-03T21:31:56.432" v="2641"/>
          <ac:spMkLst>
            <pc:docMk/>
            <pc:sldMk cId="1153880397" sldId="470"/>
            <ac:spMk id="3" creationId="{BCCE1CC0-F57C-7F9B-24E6-41280894A2BC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5" creationId="{DBE92217-B413-080C-A813-C2F89A18A9DA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6" creationId="{8604E253-9CB3-1D9D-F062-FB7A11242BE1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1" creationId="{F85A845C-DC77-5A80-9D42-5143A7A9A73C}"/>
          </ac:spMkLst>
        </pc:spChg>
        <pc:spChg chg="del 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2" creationId="{9DA62D43-749B-A9B4-A7EA-2CF16A7C81B2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3" creationId="{9EEEFBE2-D58B-0304-1EEF-C6A93EAE2FDB}"/>
          </ac:spMkLst>
        </pc:spChg>
        <pc:picChg chg="add del mod">
          <ac:chgData name="Oehrli, Stefan" userId="3f36891e-f853-43e7-bcbc-2879a2513833" providerId="ADAL" clId="{BEB5DB81-D722-724F-85CE-75021972ADA7}" dt="2023-04-03T21:31:38.975" v="2635"/>
          <ac:picMkLst>
            <pc:docMk/>
            <pc:sldMk cId="1153880397" sldId="470"/>
            <ac:picMk id="7" creationId="{6EF06718-C002-4AB9-7E35-D60C9B0C975A}"/>
          </ac:picMkLst>
        </pc:picChg>
        <pc:picChg chg="add mod">
          <ac:chgData name="Oehrli, Stefan" userId="3f36891e-f853-43e7-bcbc-2879a2513833" providerId="ADAL" clId="{BEB5DB81-D722-724F-85CE-75021972ADA7}" dt="2023-04-03T21:32:21.143" v="2652" actId="1076"/>
          <ac:picMkLst>
            <pc:docMk/>
            <pc:sldMk cId="1153880397" sldId="470"/>
            <ac:picMk id="9" creationId="{A61FEC2F-D7C6-91D8-7B41-414E7F4BD194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3T20:32:24.775" v="1214" actId="114"/>
        <pc:sldMkLst>
          <pc:docMk/>
          <pc:sldMk cId="545680952" sldId="471"/>
        </pc:sldMkLst>
        <pc:spChg chg="add del mod ord">
          <ac:chgData name="Oehrli, Stefan" userId="3f36891e-f853-43e7-bcbc-2879a2513833" providerId="ADAL" clId="{BEB5DB81-D722-724F-85CE-75021972ADA7}" dt="2023-04-03T19:54:53.805" v="734"/>
          <ac:spMkLst>
            <pc:docMk/>
            <pc:sldMk cId="545680952" sldId="471"/>
            <ac:spMk id="2" creationId="{7E42747D-2794-A346-07CE-5E2586BDA1F5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7" creationId="{54344B74-8186-A6F7-4C9A-6FB029B1170F}"/>
          </ac:spMkLst>
        </pc:spChg>
        <pc:spChg chg="mod ord">
          <ac:chgData name="Oehrli, Stefan" userId="3f36891e-f853-43e7-bcbc-2879a2513833" providerId="ADAL" clId="{BEB5DB81-D722-724F-85CE-75021972ADA7}" dt="2023-04-03T20:32:24.775" v="1214" actId="114"/>
          <ac:spMkLst>
            <pc:docMk/>
            <pc:sldMk cId="545680952" sldId="471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55:54.411" v="736"/>
          <ac:spMkLst>
            <pc:docMk/>
            <pc:sldMk cId="545680952" sldId="471"/>
            <ac:spMk id="10" creationId="{08F8DD7B-AFD2-348A-6CF2-3196E51295EC}"/>
          </ac:spMkLst>
        </pc:spChg>
        <pc:picChg chg="add del mod">
          <ac:chgData name="Oehrli, Stefan" userId="3f36891e-f853-43e7-bcbc-2879a2513833" providerId="ADAL" clId="{BEB5DB81-D722-724F-85CE-75021972ADA7}" dt="2023-04-03T19:55:53.299" v="735" actId="478"/>
          <ac:picMkLst>
            <pc:docMk/>
            <pc:sldMk cId="545680952" sldId="471"/>
            <ac:picMk id="3" creationId="{3F5D0FA2-7FDC-C88E-AEEA-53901A28AE3C}"/>
          </ac:picMkLst>
        </pc:picChg>
        <pc:picChg chg="add mod">
          <ac:chgData name="Oehrli, Stefan" userId="3f36891e-f853-43e7-bcbc-2879a2513833" providerId="ADAL" clId="{BEB5DB81-D722-724F-85CE-75021972ADA7}" dt="2023-04-03T20:01:10.905" v="933" actId="1076"/>
          <ac:picMkLst>
            <pc:docMk/>
            <pc:sldMk cId="545680952" sldId="471"/>
            <ac:picMk id="11" creationId="{F0244582-1FE8-291E-0000-8C885F39FC47}"/>
          </ac:picMkLst>
        </pc:picChg>
      </pc:sldChg>
      <pc:sldChg chg="addSp delSp modSp mod modClrScheme modAnim chgLayout">
        <pc:chgData name="Oehrli, Stefan" userId="3f36891e-f853-43e7-bcbc-2879a2513833" providerId="ADAL" clId="{BEB5DB81-D722-724F-85CE-75021972ADA7}" dt="2023-04-04T05:27:07.432" v="4258"/>
        <pc:sldMkLst>
          <pc:docMk/>
          <pc:sldMk cId="3036863141" sldId="472"/>
        </pc:sldMkLst>
        <pc:spChg chg="add mod ord">
          <ac:chgData name="Oehrli, Stefan" userId="3f36891e-f853-43e7-bcbc-2879a2513833" providerId="ADAL" clId="{BEB5DB81-D722-724F-85CE-75021972ADA7}" dt="2023-04-03T21:28:55.815" v="2628"/>
          <ac:spMkLst>
            <pc:docMk/>
            <pc:sldMk cId="3036863141" sldId="472"/>
            <ac:spMk id="2" creationId="{5B6A190F-E3F2-F6C0-EB51-368535B6210E}"/>
          </ac:spMkLst>
        </pc:spChg>
        <pc:spChg chg="add mod ord">
          <ac:chgData name="Oehrli, Stefan" userId="3f36891e-f853-43e7-bcbc-2879a2513833" providerId="ADAL" clId="{BEB5DB81-D722-724F-85CE-75021972ADA7}" dt="2023-04-03T21:29:17.567" v="2629"/>
          <ac:spMkLst>
            <pc:docMk/>
            <pc:sldMk cId="3036863141" sldId="472"/>
            <ac:spMk id="3" creationId="{B0901ECB-D5A0-0003-363D-35910B4E5326}"/>
          </ac:spMkLst>
        </pc:spChg>
        <pc:spChg chg="add del mod ord">
          <ac:chgData name="Oehrli, Stefan" userId="3f36891e-f853-43e7-bcbc-2879a2513833" providerId="ADAL" clId="{BEB5DB81-D722-724F-85CE-75021972ADA7}" dt="2023-04-03T21:28:27.765" v="2622"/>
          <ac:spMkLst>
            <pc:docMk/>
            <pc:sldMk cId="3036863141" sldId="472"/>
            <ac:spMk id="4" creationId="{380DA253-ABFA-1BD8-18C5-911396FEF62C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5" creationId="{12029315-EA9E-D291-2100-43D1174BA458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6" creationId="{8B1D37E2-BBEE-F900-072C-3FF3F33A9497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7" creationId="{7AB64799-9857-3A1D-5502-8B28474D5315}"/>
          </ac:spMkLst>
        </pc:spChg>
        <pc:spChg chg="mod ord">
          <ac:chgData name="Oehrli, Stefan" userId="3f36891e-f853-43e7-bcbc-2879a2513833" providerId="ADAL" clId="{BEB5DB81-D722-724F-85CE-75021972ADA7}" dt="2023-04-04T05:27:00.374" v="4257" actId="404"/>
          <ac:spMkLst>
            <pc:docMk/>
            <pc:sldMk cId="3036863141" sldId="472"/>
            <ac:spMk id="8" creationId="{3138A1FC-DE2E-C99D-2FEE-ECEC2F901B58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9" creationId="{461A9EF2-0A24-6C2E-E326-21C0D1E4802B}"/>
          </ac:spMkLst>
        </pc:spChg>
        <pc:picChg chg="add mod">
          <ac:chgData name="Oehrli, Stefan" userId="3f36891e-f853-43e7-bcbc-2879a2513833" providerId="ADAL" clId="{BEB5DB81-D722-724F-85CE-75021972ADA7}" dt="2023-04-03T21:28:38.769" v="2626" actId="1076"/>
          <ac:picMkLst>
            <pc:docMk/>
            <pc:sldMk cId="3036863141" sldId="472"/>
            <ac:picMk id="10" creationId="{0040DD61-E931-C2A0-C23A-69E299BB9403}"/>
          </ac:picMkLst>
        </pc:picChg>
      </pc:sldChg>
      <pc:sldChg chg="addSp delSp modSp del mod ord">
        <pc:chgData name="Oehrli, Stefan" userId="3f36891e-f853-43e7-bcbc-2879a2513833" providerId="ADAL" clId="{BEB5DB81-D722-724F-85CE-75021972ADA7}" dt="2023-04-04T07:33:13.574" v="5306" actId="2696"/>
        <pc:sldMkLst>
          <pc:docMk/>
          <pc:sldMk cId="2405720067" sldId="473"/>
        </pc:sldMkLst>
        <pc:spChg chg="add del mod">
          <ac:chgData name="Oehrli, Stefan" userId="3f36891e-f853-43e7-bcbc-2879a2513833" providerId="ADAL" clId="{BEB5DB81-D722-724F-85CE-75021972ADA7}" dt="2023-04-04T06:38:03.616" v="4402"/>
          <ac:spMkLst>
            <pc:docMk/>
            <pc:sldMk cId="2405720067" sldId="473"/>
            <ac:spMk id="2" creationId="{8C0C0734-D1D7-BBED-CED6-823BA76A7AD0}"/>
          </ac:spMkLst>
        </pc:spChg>
        <pc:spChg chg="mod">
          <ac:chgData name="Oehrli, Stefan" userId="3f36891e-f853-43e7-bcbc-2879a2513833" providerId="ADAL" clId="{BEB5DB81-D722-724F-85CE-75021972ADA7}" dt="2023-04-04T06:38:41.846" v="4449"/>
          <ac:spMkLst>
            <pc:docMk/>
            <pc:sldMk cId="2405720067" sldId="473"/>
            <ac:spMk id="7" creationId="{85B50D58-ADDC-D86F-1B86-FFD7746AF8B2}"/>
          </ac:spMkLst>
        </pc:spChg>
        <pc:spChg chg="del">
          <ac:chgData name="Oehrli, Stefan" userId="3f36891e-f853-43e7-bcbc-2879a2513833" providerId="ADAL" clId="{BEB5DB81-D722-724F-85CE-75021972ADA7}" dt="2023-04-03T20:36:13.658" v="1265"/>
          <ac:spMkLst>
            <pc:docMk/>
            <pc:sldMk cId="2405720067" sldId="473"/>
            <ac:spMk id="8" creationId="{DF6ADF7D-FF4F-5826-62C5-DD0E8DE620CD}"/>
          </ac:spMkLst>
        </pc:spChg>
        <pc:spChg chg="mod">
          <ac:chgData name="Oehrli, Stefan" userId="3f36891e-f853-43e7-bcbc-2879a2513833" providerId="ADAL" clId="{BEB5DB81-D722-724F-85CE-75021972ADA7}" dt="2023-04-04T06:39:52.086" v="4460"/>
          <ac:spMkLst>
            <pc:docMk/>
            <pc:sldMk cId="2405720067" sldId="473"/>
            <ac:spMk id="9" creationId="{F62B89D5-A706-6766-E77E-FAA051C79F0F}"/>
          </ac:spMkLst>
        </pc:spChg>
        <pc:spChg chg="add del mod">
          <ac:chgData name="Oehrli, Stefan" userId="3f36891e-f853-43e7-bcbc-2879a2513833" providerId="ADAL" clId="{BEB5DB81-D722-724F-85CE-75021972ADA7}" dt="2023-04-04T06:47:49.773" v="4464"/>
          <ac:spMkLst>
            <pc:docMk/>
            <pc:sldMk cId="2405720067" sldId="473"/>
            <ac:spMk id="10" creationId="{590486D5-F0F0-1DB3-BC95-14048CA6DA06}"/>
          </ac:spMkLst>
        </pc:spChg>
        <pc:spChg chg="add mod">
          <ac:chgData name="Oehrli, Stefan" userId="3f36891e-f853-43e7-bcbc-2879a2513833" providerId="ADAL" clId="{BEB5DB81-D722-724F-85CE-75021972ADA7}" dt="2023-04-04T07:25:25.301" v="5305"/>
          <ac:spMkLst>
            <pc:docMk/>
            <pc:sldMk cId="2405720067" sldId="473"/>
            <ac:spMk id="14" creationId="{49A31C2A-055B-D0A8-0498-8BFD1984C8EA}"/>
          </ac:spMkLst>
        </pc:spChg>
        <pc:picChg chg="add del mod">
          <ac:chgData name="Oehrli, Stefan" userId="3f36891e-f853-43e7-bcbc-2879a2513833" providerId="ADAL" clId="{BEB5DB81-D722-724F-85CE-75021972ADA7}" dt="2023-04-04T06:47:44.303" v="4461" actId="478"/>
          <ac:picMkLst>
            <pc:docMk/>
            <pc:sldMk cId="2405720067" sldId="473"/>
            <ac:picMk id="3" creationId="{A7A35FE7-6840-AA81-898F-DBEBA520D63D}"/>
          </ac:picMkLst>
        </pc:picChg>
        <pc:picChg chg="add del mod">
          <ac:chgData name="Oehrli, Stefan" userId="3f36891e-f853-43e7-bcbc-2879a2513833" providerId="ADAL" clId="{BEB5DB81-D722-724F-85CE-75021972ADA7}" dt="2023-04-04T06:47:48.043" v="4463"/>
          <ac:picMkLst>
            <pc:docMk/>
            <pc:sldMk cId="2405720067" sldId="473"/>
            <ac:picMk id="11" creationId="{39B81051-499E-82A5-E87E-3EEF97D8DB8B}"/>
          </ac:picMkLst>
        </pc:picChg>
        <pc:picChg chg="add del mod">
          <ac:chgData name="Oehrli, Stefan" userId="3f36891e-f853-43e7-bcbc-2879a2513833" providerId="ADAL" clId="{BEB5DB81-D722-724F-85CE-75021972ADA7}" dt="2023-04-04T07:25:13.698" v="5304" actId="478"/>
          <ac:picMkLst>
            <pc:docMk/>
            <pc:sldMk cId="2405720067" sldId="473"/>
            <ac:picMk id="12" creationId="{E95E7727-AEAD-7ED4-ADE1-E6DF5EC7539F}"/>
          </ac:picMkLst>
        </pc:picChg>
        <pc:picChg chg="add del mod">
          <ac:chgData name="Oehrli, Stefan" userId="3f36891e-f853-43e7-bcbc-2879a2513833" providerId="ADAL" clId="{BEB5DB81-D722-724F-85CE-75021972ADA7}" dt="2023-04-04T06:38:02.249" v="4401" actId="478"/>
          <ac:picMkLst>
            <pc:docMk/>
            <pc:sldMk cId="2405720067" sldId="473"/>
            <ac:picMk id="1026" creationId="{C119AC10-D50D-C11F-5827-DB0DF2660F01}"/>
          </ac:picMkLst>
        </pc:picChg>
      </pc:sldChg>
      <pc:sldChg chg="modSp del mod">
        <pc:chgData name="Oehrli, Stefan" userId="3f36891e-f853-43e7-bcbc-2879a2513833" providerId="ADAL" clId="{BEB5DB81-D722-724F-85CE-75021972ADA7}" dt="2023-04-04T08:35:50.479" v="6092" actId="2696"/>
        <pc:sldMkLst>
          <pc:docMk/>
          <pc:sldMk cId="2977534450" sldId="474"/>
        </pc:sldMkLst>
        <pc:spChg chg="mod">
          <ac:chgData name="Oehrli, Stefan" userId="3f36891e-f853-43e7-bcbc-2879a2513833" providerId="ADAL" clId="{BEB5DB81-D722-724F-85CE-75021972ADA7}" dt="2023-04-04T08:29:52.258" v="5741"/>
          <ac:spMkLst>
            <pc:docMk/>
            <pc:sldMk cId="2977534450" sldId="474"/>
            <ac:spMk id="7" creationId="{C124A808-16DB-889A-9FA2-0EC159F08028}"/>
          </ac:spMkLst>
        </pc:spChg>
        <pc:spChg chg="mod">
          <ac:chgData name="Oehrli, Stefan" userId="3f36891e-f853-43e7-bcbc-2879a2513833" providerId="ADAL" clId="{BEB5DB81-D722-724F-85CE-75021972ADA7}" dt="2023-04-04T08:35:45.510" v="6090" actId="21"/>
          <ac:spMkLst>
            <pc:docMk/>
            <pc:sldMk cId="2977534450" sldId="474"/>
            <ac:spMk id="8" creationId="{D6C69559-AFCC-9F44-3767-14E98B80048D}"/>
          </ac:spMkLst>
        </pc:spChg>
        <pc:spChg chg="mod">
          <ac:chgData name="Oehrli, Stefan" userId="3f36891e-f853-43e7-bcbc-2879a2513833" providerId="ADAL" clId="{BEB5DB81-D722-724F-85CE-75021972ADA7}" dt="2023-04-04T08:31:30.989" v="5775" actId="21"/>
          <ac:spMkLst>
            <pc:docMk/>
            <pc:sldMk cId="2977534450" sldId="474"/>
            <ac:spMk id="9" creationId="{F1F65E65-F395-1F1E-86BF-B9944CA8B1F8}"/>
          </ac:spMkLst>
        </pc:spChg>
      </pc:sldChg>
      <pc:sldChg chg="modSp del mod">
        <pc:chgData name="Oehrli, Stefan" userId="3f36891e-f853-43e7-bcbc-2879a2513833" providerId="ADAL" clId="{BEB5DB81-D722-724F-85CE-75021972ADA7}" dt="2023-04-04T05:55:59.554" v="4400" actId="2696"/>
        <pc:sldMkLst>
          <pc:docMk/>
          <pc:sldMk cId="786320037" sldId="475"/>
        </pc:sldMkLst>
        <pc:spChg chg="mod">
          <ac:chgData name="Oehrli, Stefan" userId="3f36891e-f853-43e7-bcbc-2879a2513833" providerId="ADAL" clId="{BEB5DB81-D722-724F-85CE-75021972ADA7}" dt="2023-04-03T20:48:44.843" v="1794"/>
          <ac:spMkLst>
            <pc:docMk/>
            <pc:sldMk cId="786320037" sldId="475"/>
            <ac:spMk id="7" creationId="{EEB4B357-7EAB-F585-A84A-4F95FA8BB24F}"/>
          </ac:spMkLst>
        </pc:spChg>
        <pc:spChg chg="mod">
          <ac:chgData name="Oehrli, Stefan" userId="3f36891e-f853-43e7-bcbc-2879a2513833" providerId="ADAL" clId="{BEB5DB81-D722-724F-85CE-75021972ADA7}" dt="2023-04-04T05:53:50.206" v="4342"/>
          <ac:spMkLst>
            <pc:docMk/>
            <pc:sldMk cId="786320037" sldId="475"/>
            <ac:spMk id="8" creationId="{BF8E3DEC-0F74-B67D-CB13-FB3B7013B74A}"/>
          </ac:spMkLst>
        </pc:spChg>
        <pc:spChg chg="mod">
          <ac:chgData name="Oehrli, Stefan" userId="3f36891e-f853-43e7-bcbc-2879a2513833" providerId="ADAL" clId="{BEB5DB81-D722-724F-85CE-75021972ADA7}" dt="2023-04-03T20:48:33.285" v="1793"/>
          <ac:spMkLst>
            <pc:docMk/>
            <pc:sldMk cId="786320037" sldId="475"/>
            <ac:spMk id="9" creationId="{05AB40B2-0AAB-812A-3DB8-3A75A22EE2CD}"/>
          </ac:spMkLst>
        </pc:spChg>
      </pc:sldChg>
      <pc:sldChg chg="addSp delSp modSp mod ord modClrScheme chgLayout">
        <pc:chgData name="Oehrli, Stefan" userId="3f36891e-f853-43e7-bcbc-2879a2513833" providerId="ADAL" clId="{BEB5DB81-D722-724F-85CE-75021972ADA7}" dt="2023-04-03T21:24:37.423" v="2620" actId="20577"/>
        <pc:sldMkLst>
          <pc:docMk/>
          <pc:sldMk cId="2614753443" sldId="476"/>
        </pc:sldMkLst>
        <pc:spChg chg="add mod ord">
          <ac:chgData name="Oehrli, Stefan" userId="3f36891e-f853-43e7-bcbc-2879a2513833" providerId="ADAL" clId="{BEB5DB81-D722-724F-85CE-75021972ADA7}" dt="2023-04-03T21:24:37.423" v="2620" actId="20577"/>
          <ac:spMkLst>
            <pc:docMk/>
            <pc:sldMk cId="2614753443" sldId="476"/>
            <ac:spMk id="2" creationId="{EC543CBB-3DEA-BAD9-A51D-BA4890B74650}"/>
          </ac:spMkLst>
        </pc:spChg>
        <pc:spChg chg="add mod ord">
          <ac:chgData name="Oehrli, Stefan" userId="3f36891e-f853-43e7-bcbc-2879a2513833" providerId="ADAL" clId="{BEB5DB81-D722-724F-85CE-75021972ADA7}" dt="2023-04-03T21:20:40.099" v="2472" actId="20577"/>
          <ac:spMkLst>
            <pc:docMk/>
            <pc:sldMk cId="2614753443" sldId="476"/>
            <ac:spMk id="3" creationId="{953EBBEF-9F80-1E50-7E37-1BA1E49CA4C7}"/>
          </ac:spMkLst>
        </pc:spChg>
        <pc:spChg chg="add del mod ord">
          <ac:chgData name="Oehrli, Stefan" userId="3f36891e-f853-43e7-bcbc-2879a2513833" providerId="ADAL" clId="{BEB5DB81-D722-724F-85CE-75021972ADA7}" dt="2023-04-03T21:15:46.064" v="2405"/>
          <ac:spMkLst>
            <pc:docMk/>
            <pc:sldMk cId="2614753443" sldId="476"/>
            <ac:spMk id="4" creationId="{F08469E9-72D1-E271-48A0-59C2EE260191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5" creationId="{41B17600-1BC2-33E1-93E8-56FB18BCEB06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6" creationId="{9327615F-79FA-0A0A-734E-43EC7CC22164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7" creationId="{FDCE342E-9C74-44D0-C5AF-5584031EAB83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8" creationId="{F076258F-E499-5848-1A39-DA9C713AFB55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9" creationId="{571C7F35-6884-EB5A-4942-D90FC4202101}"/>
          </ac:spMkLst>
        </pc:spChg>
        <pc:spChg chg="add mod">
          <ac:chgData name="Oehrli, Stefan" userId="3f36891e-f853-43e7-bcbc-2879a2513833" providerId="ADAL" clId="{BEB5DB81-D722-724F-85CE-75021972ADA7}" dt="2023-04-03T21:18:31.271" v="2435" actId="1076"/>
          <ac:spMkLst>
            <pc:docMk/>
            <pc:sldMk cId="2614753443" sldId="476"/>
            <ac:spMk id="10" creationId="{A9A29765-6356-5589-AE03-A490DDE27894}"/>
          </ac:spMkLst>
        </pc:spChg>
        <pc:picChg chg="add mod">
          <ac:chgData name="Oehrli, Stefan" userId="3f36891e-f853-43e7-bcbc-2879a2513833" providerId="ADAL" clId="{BEB5DB81-D722-724F-85CE-75021972ADA7}" dt="2023-04-03T21:15:55.275" v="2406" actId="1440"/>
          <ac:picMkLst>
            <pc:docMk/>
            <pc:sldMk cId="2614753443" sldId="476"/>
            <ac:picMk id="2050" creationId="{CA0E5F7A-2072-05CE-3D9F-7739E74E9459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4:51:33.207" v="3528" actId="20577"/>
        <pc:sldMkLst>
          <pc:docMk/>
          <pc:sldMk cId="1408013480" sldId="477"/>
        </pc:sldMkLst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2" creationId="{2DA3416A-D838-4C12-A22B-2C75D411925F}"/>
          </ac:spMkLst>
        </pc:spChg>
        <pc:spChg chg="del 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3" creationId="{F3EC1BE7-15DA-A7CA-C2B5-6D73ADC1AA24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4" creationId="{7D6D760A-E161-32D9-A581-6DBC6C5031AB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5" creationId="{8EDB13EE-C3BA-0CB5-408F-FFC511E76E08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6" creationId="{161A59BD-1FE2-B67A-20B0-6B46100EFDD9}"/>
          </ac:spMkLst>
        </pc:spChg>
        <pc:spChg chg="add del mod ord">
          <ac:chgData name="Oehrli, Stefan" userId="3f36891e-f853-43e7-bcbc-2879a2513833" providerId="ADAL" clId="{BEB5DB81-D722-724F-85CE-75021972ADA7}" dt="2023-04-04T04:38:36.528" v="3211"/>
          <ac:spMkLst>
            <pc:docMk/>
            <pc:sldMk cId="1408013480" sldId="477"/>
            <ac:spMk id="7" creationId="{AF31C4F1-F5E9-C5CE-611D-A5D778CC0250}"/>
          </ac:spMkLst>
        </pc:spChg>
        <pc:spChg chg="add mod ord">
          <ac:chgData name="Oehrli, Stefan" userId="3f36891e-f853-43e7-bcbc-2879a2513833" providerId="ADAL" clId="{BEB5DB81-D722-724F-85CE-75021972ADA7}" dt="2023-04-04T04:51:33.207" v="3528" actId="20577"/>
          <ac:spMkLst>
            <pc:docMk/>
            <pc:sldMk cId="1408013480" sldId="477"/>
            <ac:spMk id="8" creationId="{BA993795-5C05-9E5B-D605-ABC939A17BC6}"/>
          </ac:spMkLst>
        </pc:spChg>
        <pc:picChg chg="add mod">
          <ac:chgData name="Oehrli, Stefan" userId="3f36891e-f853-43e7-bcbc-2879a2513833" providerId="ADAL" clId="{BEB5DB81-D722-724F-85CE-75021972ADA7}" dt="2023-04-04T04:38:45.871" v="3214" actId="1076"/>
          <ac:picMkLst>
            <pc:docMk/>
            <pc:sldMk cId="1408013480" sldId="477"/>
            <ac:picMk id="9" creationId="{E017896B-7498-4A96-DAC3-4B1ACC882EBA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5:14:25.885" v="3846" actId="113"/>
        <pc:sldMkLst>
          <pc:docMk/>
          <pc:sldMk cId="1271595410" sldId="478"/>
        </pc:sldMkLst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2" creationId="{233874A5-5D74-D776-5932-2BDE67F283F7}"/>
          </ac:spMkLst>
        </pc:spChg>
        <pc:spChg chg="del 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3" creationId="{48412A47-DD28-6775-461A-1CF95EEA0642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4" creationId="{41DFAE58-1DC3-9D11-B348-F28BF14C9D7F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5" creationId="{2ED41217-9816-A485-7235-901CB88803B9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6" creationId="{AC854395-20A2-E5BD-B446-965077EE2B3C}"/>
          </ac:spMkLst>
        </pc:spChg>
        <pc:spChg chg="add mod ord">
          <ac:chgData name="Oehrli, Stefan" userId="3f36891e-f853-43e7-bcbc-2879a2513833" providerId="ADAL" clId="{BEB5DB81-D722-724F-85CE-75021972ADA7}" dt="2023-04-04T05:14:25.885" v="3846" actId="113"/>
          <ac:spMkLst>
            <pc:docMk/>
            <pc:sldMk cId="1271595410" sldId="478"/>
            <ac:spMk id="7" creationId="{8E3C75D1-6BF8-CC31-79E1-C4D6EAAB1052}"/>
          </ac:spMkLst>
        </pc:spChg>
        <pc:spChg chg="add del mod ord">
          <ac:chgData name="Oehrli, Stefan" userId="3f36891e-f853-43e7-bcbc-2879a2513833" providerId="ADAL" clId="{BEB5DB81-D722-724F-85CE-75021972ADA7}" dt="2023-04-04T05:09:28.868" v="3563"/>
          <ac:spMkLst>
            <pc:docMk/>
            <pc:sldMk cId="1271595410" sldId="478"/>
            <ac:spMk id="8" creationId="{B6718D16-2125-723D-5921-E8A5311DC6C0}"/>
          </ac:spMkLst>
        </pc:spChg>
        <pc:picChg chg="add mod">
          <ac:chgData name="Oehrli, Stefan" userId="3f36891e-f853-43e7-bcbc-2879a2513833" providerId="ADAL" clId="{BEB5DB81-D722-724F-85CE-75021972ADA7}" dt="2023-04-04T05:09:37.564" v="3566" actId="1076"/>
          <ac:picMkLst>
            <pc:docMk/>
            <pc:sldMk cId="1271595410" sldId="478"/>
            <ac:picMk id="9" creationId="{FFCBB4B8-DF5B-5388-889E-CE9BF0546A72}"/>
          </ac:picMkLst>
        </pc:picChg>
      </pc:sldChg>
      <pc:sldChg chg="addSp delSp modSp add del mod ord modClrScheme chgLayout">
        <pc:chgData name="Oehrli, Stefan" userId="3f36891e-f853-43e7-bcbc-2879a2513833" providerId="ADAL" clId="{BEB5DB81-D722-724F-85CE-75021972ADA7}" dt="2023-04-03T19:30:21.501" v="243" actId="2696"/>
        <pc:sldMkLst>
          <pc:docMk/>
          <pc:sldMk cId="1985595969" sldId="479"/>
        </pc:sldMkLst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2" creationId="{D5AEC11B-89AD-EA7F-3A75-192AE6FDCDDD}"/>
          </ac:spMkLst>
        </pc:spChg>
        <pc:spChg chg="add del mod ord">
          <ac:chgData name="Oehrli, Stefan" userId="3f36891e-f853-43e7-bcbc-2879a2513833" providerId="ADAL" clId="{BEB5DB81-D722-724F-85CE-75021972ADA7}" dt="2023-04-03T19:15:29.595" v="163"/>
          <ac:spMkLst>
            <pc:docMk/>
            <pc:sldMk cId="1985595969" sldId="479"/>
            <ac:spMk id="3" creationId="{F611CBC8-5CEC-7AF0-3F0D-66BD40092E27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7" creationId="{54344B74-8186-A6F7-4C9A-6FB029B1170F}"/>
          </ac:spMkLst>
        </pc:spChg>
        <pc:spChg chg="del mod ord">
          <ac:chgData name="Oehrli, Stefan" userId="3f36891e-f853-43e7-bcbc-2879a2513833" providerId="ADAL" clId="{BEB5DB81-D722-724F-85CE-75021972ADA7}" dt="2023-04-03T19:09:18.098" v="162" actId="700"/>
          <ac:spMkLst>
            <pc:docMk/>
            <pc:sldMk cId="1985595969" sldId="479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30:17.744" v="242" actId="21"/>
          <ac:spMkLst>
            <pc:docMk/>
            <pc:sldMk cId="1985595969" sldId="479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16:31.965" v="165"/>
          <ac:spMkLst>
            <pc:docMk/>
            <pc:sldMk cId="1985595969" sldId="479"/>
            <ac:spMk id="11" creationId="{C533C01A-2C15-6EFA-BDF3-413DEF40A697}"/>
          </ac:spMkLst>
        </pc:spChg>
        <pc:spChg chg="add del mod">
          <ac:chgData name="Oehrli, Stefan" userId="3f36891e-f853-43e7-bcbc-2879a2513833" providerId="ADAL" clId="{BEB5DB81-D722-724F-85CE-75021972ADA7}" dt="2023-04-03T19:20:18.037" v="232" actId="700"/>
          <ac:spMkLst>
            <pc:docMk/>
            <pc:sldMk cId="1985595969" sldId="479"/>
            <ac:spMk id="14" creationId="{C498AF99-4865-F4A3-474D-C45DB0D91406}"/>
          </ac:spMkLst>
        </pc:spChg>
        <pc:spChg chg="add del mod ord">
          <ac:chgData name="Oehrli, Stefan" userId="3f36891e-f853-43e7-bcbc-2879a2513833" providerId="ADAL" clId="{BEB5DB81-D722-724F-85CE-75021972ADA7}" dt="2023-04-03T19:20:27.330" v="234" actId="700"/>
          <ac:spMkLst>
            <pc:docMk/>
            <pc:sldMk cId="1985595969" sldId="479"/>
            <ac:spMk id="15" creationId="{7D7DB18D-C3B5-6333-A806-28EE11D4F016}"/>
          </ac:spMkLst>
        </pc:spChg>
        <pc:spChg chg="add mod">
          <ac:chgData name="Oehrli, Stefan" userId="3f36891e-f853-43e7-bcbc-2879a2513833" providerId="ADAL" clId="{BEB5DB81-D722-724F-85CE-75021972ADA7}" dt="2023-04-03T19:20:21.242" v="233" actId="767"/>
          <ac:spMkLst>
            <pc:docMk/>
            <pc:sldMk cId="1985595969" sldId="479"/>
            <ac:spMk id="16" creationId="{05D3DC33-9929-C59E-682C-A31BEF26201C}"/>
          </ac:spMkLst>
        </pc:spChg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17" creationId="{23E0DE62-BB77-A98F-970E-F77C3A153C6A}"/>
          </ac:spMkLst>
        </pc:spChg>
        <pc:picChg chg="add del mod">
          <ac:chgData name="Oehrli, Stefan" userId="3f36891e-f853-43e7-bcbc-2879a2513833" providerId="ADAL" clId="{BEB5DB81-D722-724F-85CE-75021972ADA7}" dt="2023-04-03T19:16:30.850" v="164" actId="478"/>
          <ac:picMkLst>
            <pc:docMk/>
            <pc:sldMk cId="1985595969" sldId="479"/>
            <ac:picMk id="4" creationId="{5A21C428-23FA-A5D3-E34B-3FE294B0C667}"/>
          </ac:picMkLst>
        </pc:picChg>
        <pc:picChg chg="add del mod">
          <ac:chgData name="Oehrli, Stefan" userId="3f36891e-f853-43e7-bcbc-2879a2513833" providerId="ADAL" clId="{BEB5DB81-D722-724F-85CE-75021972ADA7}" dt="2023-04-03T19:20:12.362" v="231" actId="21"/>
          <ac:picMkLst>
            <pc:docMk/>
            <pc:sldMk cId="1985595969" sldId="479"/>
            <ac:picMk id="12" creationId="{1298D8D0-834A-AFE5-84EE-3F89092AB0C7}"/>
          </ac:picMkLst>
        </pc:picChg>
      </pc:sldChg>
      <pc:sldChg chg="addSp delSp modSp new mod chgLayout">
        <pc:chgData name="Oehrli, Stefan" userId="3f36891e-f853-43e7-bcbc-2879a2513833" providerId="ADAL" clId="{BEB5DB81-D722-724F-85CE-75021972ADA7}" dt="2023-04-04T18:33:52.092" v="6260" actId="20577"/>
        <pc:sldMkLst>
          <pc:docMk/>
          <pc:sldMk cId="4239886515" sldId="480"/>
        </pc:sldMkLst>
        <pc:spChg chg="del mod ord">
          <ac:chgData name="Oehrli, Stefan" userId="3f36891e-f853-43e7-bcbc-2879a2513833" providerId="ADAL" clId="{BEB5DB81-D722-724F-85CE-75021972ADA7}" dt="2023-04-03T13:03:58.775" v="7" actId="700"/>
          <ac:spMkLst>
            <pc:docMk/>
            <pc:sldMk cId="4239886515" sldId="480"/>
            <ac:spMk id="2" creationId="{4AA560AA-A67C-F2B3-8970-11906A4131DE}"/>
          </ac:spMkLst>
        </pc:spChg>
        <pc:spChg chg="add mod ord">
          <ac:chgData name="Oehrli, Stefan" userId="3f36891e-f853-43e7-bcbc-2879a2513833" providerId="ADAL" clId="{BEB5DB81-D722-724F-85CE-75021972ADA7}" dt="2023-04-03T13:05:20.027" v="9"/>
          <ac:spMkLst>
            <pc:docMk/>
            <pc:sldMk cId="4239886515" sldId="480"/>
            <ac:spMk id="3" creationId="{1CFF8D79-E5D0-CB92-E5C1-9AB31A6E8C25}"/>
          </ac:spMkLst>
        </pc:spChg>
        <pc:spChg chg="add mod ord">
          <ac:chgData name="Oehrli, Stefan" userId="3f36891e-f853-43e7-bcbc-2879a2513833" providerId="ADAL" clId="{BEB5DB81-D722-724F-85CE-75021972ADA7}" dt="2023-04-04T18:33:52.092" v="6260" actId="20577"/>
          <ac:spMkLst>
            <pc:docMk/>
            <pc:sldMk cId="4239886515" sldId="480"/>
            <ac:spMk id="4" creationId="{F4D16C22-C1BC-AD85-0A01-6D918C31FBC0}"/>
          </ac:spMkLst>
        </pc:spChg>
        <pc:spChg chg="add mod ord">
          <ac:chgData name="Oehrli, Stefan" userId="3f36891e-f853-43e7-bcbc-2879a2513833" providerId="ADAL" clId="{BEB5DB81-D722-724F-85CE-75021972ADA7}" dt="2023-04-03T21:06:29.567" v="2285" actId="20577"/>
          <ac:spMkLst>
            <pc:docMk/>
            <pc:sldMk cId="4239886515" sldId="480"/>
            <ac:spMk id="5" creationId="{81432748-12E5-D009-5764-A6F202D8D5C1}"/>
          </ac:spMkLst>
        </pc:spChg>
      </pc:sldChg>
      <pc:sldChg chg="modSp add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1928709485" sldId="481"/>
        </pc:sldMkLst>
        <pc:spChg chg="mod">
          <ac:chgData name="Oehrli, Stefan" userId="3f36891e-f853-43e7-bcbc-2879a2513833" providerId="ADAL" clId="{BEB5DB81-D722-724F-85CE-75021972ADA7}" dt="2023-04-03T13:07:43.314" v="82" actId="20577"/>
          <ac:spMkLst>
            <pc:docMk/>
            <pc:sldMk cId="1928709485" sldId="481"/>
            <ac:spMk id="2" creationId="{6B7D050A-F3DB-4B0A-8C3E-8F4D3EE9CC12}"/>
          </ac:spMkLst>
        </pc:spChg>
      </pc:sldChg>
      <pc:sldChg chg="addSp delSp modSp new mod modClrScheme chgLayout">
        <pc:chgData name="Oehrli, Stefan" userId="3f36891e-f853-43e7-bcbc-2879a2513833" providerId="ADAL" clId="{BEB5DB81-D722-724F-85CE-75021972ADA7}" dt="2023-04-03T20:46:12.965" v="1717" actId="20577"/>
        <pc:sldMkLst>
          <pc:docMk/>
          <pc:sldMk cId="4174432396" sldId="482"/>
        </pc:sldMkLst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2" creationId="{25558306-403D-6C14-0D47-BD5150E42E84}"/>
          </ac:spMkLst>
        </pc:spChg>
        <pc:spChg chg="mod ord">
          <ac:chgData name="Oehrli, Stefan" userId="3f36891e-f853-43e7-bcbc-2879a2513833" providerId="ADAL" clId="{BEB5DB81-D722-724F-85CE-75021972ADA7}" dt="2023-04-03T20:46:12.965" v="1717" actId="20577"/>
          <ac:spMkLst>
            <pc:docMk/>
            <pc:sldMk cId="4174432396" sldId="482"/>
            <ac:spMk id="3" creationId="{8D291947-2B30-4181-6810-2FEC406B0DB7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4" creationId="{3F24D6B6-172A-1A07-9C6D-823D25A27FB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5" creationId="{8E345C3D-84FD-BBA3-0308-CD9B28F0F0C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6" creationId="{671903D4-72AB-71FA-B564-42B364CC1074}"/>
          </ac:spMkLst>
        </pc:spChg>
        <pc:spChg chg="add del mod ord">
          <ac:chgData name="Oehrli, Stefan" userId="3f36891e-f853-43e7-bcbc-2879a2513833" providerId="ADAL" clId="{BEB5DB81-D722-724F-85CE-75021972ADA7}" dt="2023-04-03T20:34:57.309" v="1216"/>
          <ac:spMkLst>
            <pc:docMk/>
            <pc:sldMk cId="4174432396" sldId="482"/>
            <ac:spMk id="7" creationId="{37559EF5-1664-7E41-13BB-F60A7FA34578}"/>
          </ac:spMkLst>
        </pc:spChg>
        <pc:picChg chg="add mod">
          <ac:chgData name="Oehrli, Stefan" userId="3f36891e-f853-43e7-bcbc-2879a2513833" providerId="ADAL" clId="{BEB5DB81-D722-724F-85CE-75021972ADA7}" dt="2023-04-03T20:34:57.309" v="1216"/>
          <ac:picMkLst>
            <pc:docMk/>
            <pc:sldMk cId="4174432396" sldId="482"/>
            <ac:picMk id="8" creationId="{346C02ED-87C5-E921-3251-15DCA642B2D8}"/>
          </ac:picMkLst>
        </pc:picChg>
      </pc:sldChg>
      <pc:sldChg chg="addSp delSp modSp new del mod chgLayout">
        <pc:chgData name="Oehrli, Stefan" userId="3f36891e-f853-43e7-bcbc-2879a2513833" providerId="ADAL" clId="{BEB5DB81-D722-724F-85CE-75021972ADA7}" dt="2023-04-04T07:57:40.596" v="5709" actId="2696"/>
        <pc:sldMkLst>
          <pc:docMk/>
          <pc:sldMk cId="987968932" sldId="483"/>
        </pc:sldMkLst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2" creationId="{15D7DB5A-4D0A-3477-DAAD-FB85CF83CE9F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3" creationId="{85644990-BA4D-8940-6C72-6EB768EBDEB0}"/>
          </ac:spMkLst>
        </pc:spChg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4" creationId="{FE313287-A553-744D-3A06-4CB97638E944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5" creationId="{1BF55F7F-202E-E506-8A4A-460733D36436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6" creationId="{7848A1C0-DA39-2B73-56FF-55167E1A5CED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7" creationId="{9BA87B35-1ED2-FE79-1F53-74E5125CEFF9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8" creationId="{FCABBB6F-7C5C-FE86-4ADA-2824440EC69B}"/>
          </ac:spMkLst>
        </pc:spChg>
      </pc:sldChg>
      <pc:sldChg chg="addSp delSp modSp new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3649216632" sldId="484"/>
        </pc:sldMkLst>
        <pc:spChg chg="mod">
          <ac:chgData name="Oehrli, Stefan" userId="3f36891e-f853-43e7-bcbc-2879a2513833" providerId="ADAL" clId="{BEB5DB81-D722-724F-85CE-75021972ADA7}" dt="2023-04-03T19:08:33.309" v="158" actId="20577"/>
          <ac:spMkLst>
            <pc:docMk/>
            <pc:sldMk cId="3649216632" sldId="484"/>
            <ac:spMk id="2" creationId="{BB37F925-E785-3812-1201-536C455F9F1C}"/>
          </ac:spMkLst>
        </pc:spChg>
        <pc:spChg chg="del mod">
          <ac:chgData name="Oehrli, Stefan" userId="3f36891e-f853-43e7-bcbc-2879a2513833" providerId="ADAL" clId="{BEB5DB81-D722-724F-85CE-75021972ADA7}" dt="2023-04-03T19:08:15.721" v="136"/>
          <ac:spMkLst>
            <pc:docMk/>
            <pc:sldMk cId="3649216632" sldId="484"/>
            <ac:spMk id="3" creationId="{9DCB6237-BED3-5AC1-2B17-A95D4F059BEC}"/>
          </ac:spMkLst>
        </pc:spChg>
        <pc:spChg chg="mod">
          <ac:chgData name="Oehrli, Stefan" userId="3f36891e-f853-43e7-bcbc-2879a2513833" providerId="ADAL" clId="{BEB5DB81-D722-724F-85CE-75021972ADA7}" dt="2023-04-03T19:08:59.102" v="159"/>
          <ac:spMkLst>
            <pc:docMk/>
            <pc:sldMk cId="3649216632" sldId="484"/>
            <ac:spMk id="4" creationId="{3D5C0F9E-FE7E-BCCA-C9B2-73F5FDEAA36F}"/>
          </ac:spMkLst>
        </pc:spChg>
        <pc:picChg chg="add mod">
          <ac:chgData name="Oehrli, Stefan" userId="3f36891e-f853-43e7-bcbc-2879a2513833" providerId="ADAL" clId="{BEB5DB81-D722-724F-85CE-75021972ADA7}" dt="2023-04-03T19:09:03.476" v="161" actId="1076"/>
          <ac:picMkLst>
            <pc:docMk/>
            <pc:sldMk cId="3649216632" sldId="484"/>
            <ac:picMk id="7" creationId="{53A1C281-4B62-3288-0450-86C235DA6BA2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3T19:50:06.790" v="686" actId="478"/>
        <pc:sldMkLst>
          <pc:docMk/>
          <pc:sldMk cId="374310437" sldId="485"/>
        </pc:sldMkLst>
        <pc:spChg chg="mod">
          <ac:chgData name="Oehrli, Stefan" userId="3f36891e-f853-43e7-bcbc-2879a2513833" providerId="ADAL" clId="{BEB5DB81-D722-724F-85CE-75021972ADA7}" dt="2023-04-03T19:29:12.572" v="240"/>
          <ac:spMkLst>
            <pc:docMk/>
            <pc:sldMk cId="374310437" sldId="485"/>
            <ac:spMk id="2" creationId="{0A683B59-7F37-023E-0512-FC2D492A8BDD}"/>
          </ac:spMkLst>
        </pc:spChg>
        <pc:spChg chg="del">
          <ac:chgData name="Oehrli, Stefan" userId="3f36891e-f853-43e7-bcbc-2879a2513833" providerId="ADAL" clId="{BEB5DB81-D722-724F-85CE-75021972ADA7}" dt="2023-04-03T19:27:27.382" v="237"/>
          <ac:spMkLst>
            <pc:docMk/>
            <pc:sldMk cId="374310437" sldId="485"/>
            <ac:spMk id="3" creationId="{BB0B3CF7-2985-1F43-F0ED-ED239F6D3F24}"/>
          </ac:spMkLst>
        </pc:spChg>
        <pc:spChg chg="mod">
          <ac:chgData name="Oehrli, Stefan" userId="3f36891e-f853-43e7-bcbc-2879a2513833" providerId="ADAL" clId="{BEB5DB81-D722-724F-85CE-75021972ADA7}" dt="2023-04-03T19:49:58.753" v="685" actId="21"/>
          <ac:spMkLst>
            <pc:docMk/>
            <pc:sldMk cId="374310437" sldId="485"/>
            <ac:spMk id="4" creationId="{627ED224-572F-6747-B17E-9BB78882761D}"/>
          </ac:spMkLst>
        </pc:spChg>
        <pc:spChg chg="mod">
          <ac:chgData name="Oehrli, Stefan" userId="3f36891e-f853-43e7-bcbc-2879a2513833" providerId="ADAL" clId="{BEB5DB81-D722-724F-85CE-75021972ADA7}" dt="2023-04-03T19:30:02.999" v="241"/>
          <ac:spMkLst>
            <pc:docMk/>
            <pc:sldMk cId="374310437" sldId="485"/>
            <ac:spMk id="6" creationId="{B28D3141-96DE-A43E-F9DB-6923E882B9AB}"/>
          </ac:spMkLst>
        </pc:spChg>
        <pc:spChg chg="add del mod">
          <ac:chgData name="Oehrli, Stefan" userId="3f36891e-f853-43e7-bcbc-2879a2513833" providerId="ADAL" clId="{BEB5DB81-D722-724F-85CE-75021972ADA7}" dt="2023-04-03T19:29:04.637" v="239"/>
          <ac:spMkLst>
            <pc:docMk/>
            <pc:sldMk cId="374310437" sldId="485"/>
            <ac:spMk id="10" creationId="{D381DF76-7C12-C199-386F-806394571A5D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3" creationId="{2C2114AD-B9C5-E6F1-D304-DC103F61C90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4" creationId="{7C98AE17-280D-53D1-DB40-400759767A3F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5" creationId="{F725344F-A390-62ED-66F0-0B3325FAB05B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6" creationId="{26D13832-1941-24D8-4E13-040646C1AAD6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7" creationId="{32C018C7-2E93-8788-F502-CE2F9D2867D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8" creationId="{22259163-380C-6152-7B7E-00947D3D976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0" creationId="{C826BE5D-EFC8-20D2-1BA4-9F9481F5C3FB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1" creationId="{25459C6D-6A24-61EA-21E1-97C393D2D8C5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2" creationId="{6015AF56-7975-DCF9-4EA4-DBF0CCF23C0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3" creationId="{60E48CC1-65DD-F25E-1385-B19FAEC3A54A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4" creationId="{B04E7D27-A83F-7D26-0D62-1C118850663F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5" creationId="{8020CF3B-B2CD-8370-0471-9224E95989E9}"/>
          </ac:spMkLst>
        </pc:spChg>
        <pc:grpChg chg="add del mod">
          <ac:chgData name="Oehrli, Stefan" userId="3f36891e-f853-43e7-bcbc-2879a2513833" providerId="ADAL" clId="{BEB5DB81-D722-724F-85CE-75021972ADA7}" dt="2023-04-03T19:37:29.903" v="283"/>
          <ac:grpSpMkLst>
            <pc:docMk/>
            <pc:sldMk cId="374310437" sldId="485"/>
            <ac:grpSpMk id="12" creationId="{FF17B441-CCBB-6D40-D9DB-EBD695560B10}"/>
          </ac:grpSpMkLst>
        </pc:grpChg>
        <pc:grpChg chg="add del mod">
          <ac:chgData name="Oehrli, Stefan" userId="3f36891e-f853-43e7-bcbc-2879a2513833" providerId="ADAL" clId="{BEB5DB81-D722-724F-85CE-75021972ADA7}" dt="2023-04-03T19:50:06.790" v="686" actId="478"/>
          <ac:grpSpMkLst>
            <pc:docMk/>
            <pc:sldMk cId="374310437" sldId="485"/>
            <ac:grpSpMk id="19" creationId="{43D71549-1FDA-933A-66EA-48B8D19056D3}"/>
          </ac:grpSpMkLst>
        </pc:grpChg>
        <pc:picChg chg="add del mod">
          <ac:chgData name="Oehrli, Stefan" userId="3f36891e-f853-43e7-bcbc-2879a2513833" providerId="ADAL" clId="{BEB5DB81-D722-724F-85CE-75021972ADA7}" dt="2023-04-03T19:29:03.512" v="238" actId="478"/>
          <ac:picMkLst>
            <pc:docMk/>
            <pc:sldMk cId="374310437" sldId="485"/>
            <ac:picMk id="8" creationId="{3EA22027-1D3A-8394-B90F-5438AECC4118}"/>
          </ac:picMkLst>
        </pc:picChg>
        <pc:picChg chg="add mod">
          <ac:chgData name="Oehrli, Stefan" userId="3f36891e-f853-43e7-bcbc-2879a2513833" providerId="ADAL" clId="{BEB5DB81-D722-724F-85CE-75021972ADA7}" dt="2023-04-03T19:38:17.698" v="333" actId="1076"/>
          <ac:picMkLst>
            <pc:docMk/>
            <pc:sldMk cId="374310437" sldId="485"/>
            <ac:picMk id="11" creationId="{62E76AD4-CDEE-6935-A5A8-F0E36C086B7A}"/>
          </ac:picMkLst>
        </pc:picChg>
      </pc:sldChg>
      <pc:sldChg chg="modSp add mod ord">
        <pc:chgData name="Oehrli, Stefan" userId="3f36891e-f853-43e7-bcbc-2879a2513833" providerId="ADAL" clId="{BEB5DB81-D722-724F-85CE-75021972ADA7}" dt="2023-04-03T19:50:48.027" v="698" actId="20578"/>
        <pc:sldMkLst>
          <pc:docMk/>
          <pc:sldMk cId="2620699427" sldId="486"/>
        </pc:sldMkLst>
        <pc:spChg chg="mod">
          <ac:chgData name="Oehrli, Stefan" userId="3f36891e-f853-43e7-bcbc-2879a2513833" providerId="ADAL" clId="{BEB5DB81-D722-724F-85CE-75021972ADA7}" dt="2023-04-03T19:50:38.971" v="697" actId="20577"/>
          <ac:spMkLst>
            <pc:docMk/>
            <pc:sldMk cId="2620699427" sldId="486"/>
            <ac:spMk id="2" creationId="{6B7D050A-F3DB-4B0A-8C3E-8F4D3EE9CC12}"/>
          </ac:spMkLst>
        </pc:spChg>
      </pc:sldChg>
      <pc:sldChg chg="modSp add mod">
        <pc:chgData name="Oehrli, Stefan" userId="3f36891e-f853-43e7-bcbc-2879a2513833" providerId="ADAL" clId="{BEB5DB81-D722-724F-85CE-75021972ADA7}" dt="2023-04-03T20:47:34.663" v="1792"/>
        <pc:sldMkLst>
          <pc:docMk/>
          <pc:sldMk cId="410080873" sldId="487"/>
        </pc:sldMkLst>
        <pc:spChg chg="mod">
          <ac:chgData name="Oehrli, Stefan" userId="3f36891e-f853-43e7-bcbc-2879a2513833" providerId="ADAL" clId="{BEB5DB81-D722-724F-85CE-75021972ADA7}" dt="2023-04-03T20:47:34.663" v="1792"/>
          <ac:spMkLst>
            <pc:docMk/>
            <pc:sldMk cId="410080873" sldId="487"/>
            <ac:spMk id="2" creationId="{6B7D050A-F3DB-4B0A-8C3E-8F4D3EE9CC12}"/>
          </ac:spMkLst>
        </pc:spChg>
      </pc:sldChg>
      <pc:sldChg chg="modSp new mod ord">
        <pc:chgData name="Oehrli, Stefan" userId="3f36891e-f853-43e7-bcbc-2879a2513833" providerId="ADAL" clId="{BEB5DB81-D722-724F-85CE-75021972ADA7}" dt="2023-04-03T21:05:47.698" v="2283"/>
        <pc:sldMkLst>
          <pc:docMk/>
          <pc:sldMk cId="1360537350" sldId="488"/>
        </pc:sldMkLst>
        <pc:spChg chg="mod">
          <ac:chgData name="Oehrli, Stefan" userId="3f36891e-f853-43e7-bcbc-2879a2513833" providerId="ADAL" clId="{BEB5DB81-D722-724F-85CE-75021972ADA7}" dt="2023-04-03T21:05:47.698" v="2283"/>
          <ac:spMkLst>
            <pc:docMk/>
            <pc:sldMk cId="1360537350" sldId="488"/>
            <ac:spMk id="2" creationId="{5A99365B-B677-E4C1-2C37-1D62266BA08C}"/>
          </ac:spMkLst>
        </pc:spChg>
        <pc:spChg chg="mod">
          <ac:chgData name="Oehrli, Stefan" userId="3f36891e-f853-43e7-bcbc-2879a2513833" providerId="ADAL" clId="{BEB5DB81-D722-724F-85CE-75021972ADA7}" dt="2023-04-03T21:04:52.416" v="2279" actId="20577"/>
          <ac:spMkLst>
            <pc:docMk/>
            <pc:sldMk cId="1360537350" sldId="488"/>
            <ac:spMk id="3" creationId="{8697DCCA-15D9-58E1-AF51-BD6C6997D56F}"/>
          </ac:spMkLst>
        </pc:spChg>
        <pc:spChg chg="mod">
          <ac:chgData name="Oehrli, Stefan" userId="3f36891e-f853-43e7-bcbc-2879a2513833" providerId="ADAL" clId="{BEB5DB81-D722-724F-85CE-75021972ADA7}" dt="2023-04-03T20:53:36.125" v="1876" actId="20577"/>
          <ac:spMkLst>
            <pc:docMk/>
            <pc:sldMk cId="1360537350" sldId="488"/>
            <ac:spMk id="4" creationId="{6F7391E2-A25C-FB8D-793A-73E0E9E17C40}"/>
          </ac:spMkLst>
        </pc:spChg>
      </pc:sldChg>
      <pc:sldChg chg="modSp new mod">
        <pc:chgData name="Oehrli, Stefan" userId="3f36891e-f853-43e7-bcbc-2879a2513833" providerId="ADAL" clId="{BEB5DB81-D722-724F-85CE-75021972ADA7}" dt="2023-04-04T05:53:33.156" v="4339" actId="20577"/>
        <pc:sldMkLst>
          <pc:docMk/>
          <pc:sldMk cId="299594700" sldId="489"/>
        </pc:sldMkLst>
        <pc:spChg chg="mod">
          <ac:chgData name="Oehrli, Stefan" userId="3f36891e-f853-43e7-bcbc-2879a2513833" providerId="ADAL" clId="{BEB5DB81-D722-724F-85CE-75021972ADA7}" dt="2023-04-03T21:05:14.262" v="2282"/>
          <ac:spMkLst>
            <pc:docMk/>
            <pc:sldMk cId="299594700" sldId="489"/>
            <ac:spMk id="2" creationId="{27FF90EA-20C0-B6EE-2B71-4970809A27E9}"/>
          </ac:spMkLst>
        </pc:spChg>
        <pc:spChg chg="mod">
          <ac:chgData name="Oehrli, Stefan" userId="3f36891e-f853-43e7-bcbc-2879a2513833" providerId="ADAL" clId="{BEB5DB81-D722-724F-85CE-75021972ADA7}" dt="2023-04-04T05:53:33.156" v="4339" actId="20577"/>
          <ac:spMkLst>
            <pc:docMk/>
            <pc:sldMk cId="299594700" sldId="489"/>
            <ac:spMk id="3" creationId="{3BA736C6-2418-7DF3-5BB9-9F927BC2E9E2}"/>
          </ac:spMkLst>
        </pc:spChg>
        <pc:spChg chg="mod">
          <ac:chgData name="Oehrli, Stefan" userId="3f36891e-f853-43e7-bcbc-2879a2513833" providerId="ADAL" clId="{BEB5DB81-D722-724F-85CE-75021972ADA7}" dt="2023-04-03T21:05:08.089" v="2281"/>
          <ac:spMkLst>
            <pc:docMk/>
            <pc:sldMk cId="299594700" sldId="489"/>
            <ac:spMk id="4" creationId="{392C1FED-F218-6AB8-7AA3-D109E99A8F82}"/>
          </ac:spMkLst>
        </pc:spChg>
      </pc:sldChg>
      <pc:sldChg chg="addSp delSp modSp add mod ord">
        <pc:chgData name="Oehrli, Stefan" userId="3f36891e-f853-43e7-bcbc-2879a2513833" providerId="ADAL" clId="{BEB5DB81-D722-724F-85CE-75021972ADA7}" dt="2023-04-04T07:59:48.049" v="5739" actId="1076"/>
        <pc:sldMkLst>
          <pc:docMk/>
          <pc:sldMk cId="2796484050" sldId="490"/>
        </pc:sldMkLst>
        <pc:spChg chg="mod">
          <ac:chgData name="Oehrli, Stefan" userId="3f36891e-f853-43e7-bcbc-2879a2513833" providerId="ADAL" clId="{BEB5DB81-D722-724F-85CE-75021972ADA7}" dt="2023-04-04T07:53:20.274" v="5551"/>
          <ac:spMkLst>
            <pc:docMk/>
            <pc:sldMk cId="2796484050" sldId="490"/>
            <ac:spMk id="2" creationId="{15D7DB5A-4D0A-3477-DAAD-FB85CF83CE9F}"/>
          </ac:spMkLst>
        </pc:spChg>
        <pc:spChg chg="del mod">
          <ac:chgData name="Oehrli, Stefan" userId="3f36891e-f853-43e7-bcbc-2879a2513833" providerId="ADAL" clId="{BEB5DB81-D722-724F-85CE-75021972ADA7}" dt="2023-04-04T07:36:16.909" v="5338" actId="3680"/>
          <ac:spMkLst>
            <pc:docMk/>
            <pc:sldMk cId="2796484050" sldId="490"/>
            <ac:spMk id="3" creationId="{85644990-BA4D-8940-6C72-6EB768EBDEB0}"/>
          </ac:spMkLst>
        </pc:spChg>
        <pc:spChg chg="mod">
          <ac:chgData name="Oehrli, Stefan" userId="3f36891e-f853-43e7-bcbc-2879a2513833" providerId="ADAL" clId="{BEB5DB81-D722-724F-85CE-75021972ADA7}" dt="2023-04-04T07:59:31.350" v="5738" actId="1076"/>
          <ac:spMkLst>
            <pc:docMk/>
            <pc:sldMk cId="2796484050" sldId="490"/>
            <ac:spMk id="4" creationId="{FE313287-A553-744D-3A06-4CB97638E944}"/>
          </ac:spMkLst>
        </pc:spChg>
        <pc:spChg chg="add del mod">
          <ac:chgData name="Oehrli, Stefan" userId="3f36891e-f853-43e7-bcbc-2879a2513833" providerId="ADAL" clId="{BEB5DB81-D722-724F-85CE-75021972ADA7}" dt="2023-04-04T07:48:43.135" v="5530" actId="478"/>
          <ac:spMkLst>
            <pc:docMk/>
            <pc:sldMk cId="2796484050" sldId="490"/>
            <ac:spMk id="8" creationId="{45DED209-B3A3-8F10-C16F-A9CF151086A5}"/>
          </ac:spMkLst>
        </pc:spChg>
        <pc:spChg chg="add del mod">
          <ac:chgData name="Oehrli, Stefan" userId="3f36891e-f853-43e7-bcbc-2879a2513833" providerId="ADAL" clId="{BEB5DB81-D722-724F-85CE-75021972ADA7}" dt="2023-04-04T07:48:41.562" v="5529" actId="478"/>
          <ac:spMkLst>
            <pc:docMk/>
            <pc:sldMk cId="2796484050" sldId="490"/>
            <ac:spMk id="9" creationId="{C9789545-2CAC-99B0-730A-503862E2039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0" creationId="{86819393-2BC9-EDBD-BF4D-E3D9252AEBFE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1" creationId="{140411BF-00B4-965C-F288-9D23808910C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2" creationId="{6A14E84B-88F3-1D85-B9DA-FA8D15696E7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3" creationId="{105D6CFB-A5CA-AABA-C35F-984347761F3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4" creationId="{3C1E3811-2474-9F4D-964F-AA2E44D35CC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5" creationId="{81298F0F-469B-392D-A498-7961DE281E3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6" creationId="{039E456F-CFD4-A0D8-0C82-8AAC4BB93C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7" creationId="{BB4EEEFB-1FEC-2D4D-75FD-98E882EEE9C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8" creationId="{8263FDB5-A5E8-38D7-5270-45DBCB63318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9" creationId="{DFED9CF7-BDB8-CA1A-A7D1-85267702FCF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0" creationId="{A939DDCA-9CB1-5814-EC75-060F1439176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1" creationId="{23FAC0C4-AA28-E8D1-7CB0-98050352714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2" creationId="{C3598CE6-423D-95A6-69B2-32EEC38399F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3" creationId="{0F1BAADA-1368-D88B-033F-73AFE933773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4" creationId="{76582B26-967C-C2E2-25B7-7B4BFA04BDC3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5" creationId="{6BBDC86E-CA38-F90B-515A-F002654272A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6" creationId="{FC1942ED-75BA-6757-A4E0-5C936734FFF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7" creationId="{C9F80EA1-A235-CE46-5020-D5D1689A0B1D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8" creationId="{541CC716-DEAB-472B-5DAC-058BEF16C0A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9" creationId="{2DE593C8-BFDC-96A5-1E60-0271DD668E8C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30" creationId="{63F154CA-5DFE-18F7-4569-29034147693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1" creationId="{8FE1A81D-47E0-067B-5D76-93A2137CB5C4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2" creationId="{C25C4115-974F-07BD-BCEB-95112DFEB3AE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3" creationId="{2E251419-1F7E-D6B0-2C81-433FDEBFCFC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4" creationId="{715DFC3F-8D2D-53E2-603D-5DA558CDDE9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5" creationId="{C3141446-5F4A-AC67-7D95-BC5FC960D022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6" creationId="{ED9C15E0-B5A7-E5AA-9222-BD1E0BE076B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7" creationId="{73D451B8-804E-AAD4-74D4-C922A168B52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8" creationId="{96F984B5-9392-E3DE-CC21-D60C59012AEC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9" creationId="{AC390EFC-91FA-C533-D9D5-5E72853B8579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0" creationId="{8C6D2FE7-1A5F-1FC5-1510-3A405E32604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1" creationId="{C640B0D7-046A-AF4E-2DE7-DC01383FA6DB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2" creationId="{077F5507-3087-4859-39CD-C683AF71FBD3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3" creationId="{28FAA9C1-CCEA-1347-25AC-0DC4532754F7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4" creationId="{A81B279D-4D83-E844-2515-F0954966B5E7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5" creationId="{83C6765C-A36B-ED63-AFC8-E43C3F8E6FF8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46" creationId="{0CB61974-2AA4-ABED-84F1-ABA1C19C36DB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7" creationId="{8CB71DEB-6AB9-7A51-34D0-AFBECEEE3B79}"/>
          </ac:spMkLst>
        </pc:spChg>
        <pc:spChg chg="add del mod">
          <ac:chgData name="Oehrli, Stefan" userId="3f36891e-f853-43e7-bcbc-2879a2513833" providerId="ADAL" clId="{BEB5DB81-D722-724F-85CE-75021972ADA7}" dt="2023-04-04T07:51:40.278" v="5545" actId="478"/>
          <ac:spMkLst>
            <pc:docMk/>
            <pc:sldMk cId="2796484050" sldId="490"/>
            <ac:spMk id="48" creationId="{F4E64797-8744-05F7-AB21-AA260091E2E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9" creationId="{CDA02043-7937-A050-1D98-F900666B353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0" creationId="{A0F4C490-F9B3-9654-A93D-08BDD7C78727}"/>
          </ac:spMkLst>
        </pc:spChg>
        <pc:spChg chg="add del mod">
          <ac:chgData name="Oehrli, Stefan" userId="3f36891e-f853-43e7-bcbc-2879a2513833" providerId="ADAL" clId="{BEB5DB81-D722-724F-85CE-75021972ADA7}" dt="2023-04-04T07:51:51.546" v="5546" actId="478"/>
          <ac:spMkLst>
            <pc:docMk/>
            <pc:sldMk cId="2796484050" sldId="490"/>
            <ac:spMk id="51" creationId="{1DECCCCD-0529-FFF2-A0CF-CBD6509B085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2" creationId="{C5341C06-5FF6-9163-E690-6305DA4D6CD1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53" creationId="{3D37DD28-E780-0C30-674F-8373158D0DA1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54" creationId="{06B2983B-D655-A79C-4B74-522337413F48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5" creationId="{1C390F95-EB47-4675-C9EA-2BB291A937B8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6" creationId="{B4FFEE5F-B0DC-E39D-06B4-E390D4638465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7" creationId="{89A56268-330F-2254-914B-C9D24E6D5966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8" creationId="{430626FE-4A0A-1C43-5CC2-BBE4F3F20D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9" creationId="{E84D8CB0-B4A2-EBF3-7570-B0951B39BB4B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60" creationId="{57D9B021-33D0-A8B1-4F37-B87947D70727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61" creationId="{2C1F60F1-960A-65C0-7F20-D00C1766BA7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2" creationId="{223BF0A2-147D-7537-0B8E-A56ABE79B4D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3" creationId="{82DE1308-22C5-66DF-EC3B-5C7768058FB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4" creationId="{3A0C56F8-5FC7-DF5A-45E9-3014654522F5}"/>
          </ac:spMkLst>
        </pc:spChg>
        <pc:spChg chg="add del mod">
          <ac:chgData name="Oehrli, Stefan" userId="3f36891e-f853-43e7-bcbc-2879a2513833" providerId="ADAL" clId="{BEB5DB81-D722-724F-85CE-75021972ADA7}" dt="2023-04-04T07:51:19.569" v="5542" actId="478"/>
          <ac:spMkLst>
            <pc:docMk/>
            <pc:sldMk cId="2796484050" sldId="490"/>
            <ac:spMk id="65" creationId="{D8009D05-BE73-CE85-652E-8993AD5C536F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7" creationId="{90E6DB7E-5ED9-E692-872C-1CF4B0A90A17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8" creationId="{E12556CA-D73D-A387-4632-1ED60584AA76}"/>
          </ac:spMkLst>
        </pc:spChg>
        <pc:spChg chg="add del mod">
          <ac:chgData name="Oehrli, Stefan" userId="3f36891e-f853-43e7-bcbc-2879a2513833" providerId="ADAL" clId="{BEB5DB81-D722-724F-85CE-75021972ADA7}" dt="2023-04-04T07:50:40.970" v="5539" actId="478"/>
          <ac:spMkLst>
            <pc:docMk/>
            <pc:sldMk cId="2796484050" sldId="490"/>
            <ac:spMk id="69" creationId="{4F3DF59A-88E3-3CFB-69B3-FCBAA3466AA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0" creationId="{4EFEF8CE-FB77-FC1E-822D-1E2426012D7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1" creationId="{6E5DAFAD-C07C-76F3-C0E3-D4CA2B9EE95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2" creationId="{617A2C7A-3D26-81AA-B4FA-8CD900F218FF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3" creationId="{D1DA6335-5A20-1B11-3A99-3745C542AC02}"/>
          </ac:spMkLst>
        </pc:spChg>
        <pc:grpChg chg="add del mod">
          <ac:chgData name="Oehrli, Stefan" userId="3f36891e-f853-43e7-bcbc-2879a2513833" providerId="ADAL" clId="{BEB5DB81-D722-724F-85CE-75021972ADA7}" dt="2023-04-04T07:49:17.751" v="5532"/>
          <ac:grpSpMkLst>
            <pc:docMk/>
            <pc:sldMk cId="2796484050" sldId="490"/>
            <ac:grpSpMk id="66" creationId="{A7D81B6C-F4B6-9DCC-0A9A-CA2553DC5420}"/>
          </ac:grpSpMkLst>
        </pc:grpChg>
        <pc:graphicFrameChg chg="add mod ord modGraphic">
          <ac:chgData name="Oehrli, Stefan" userId="3f36891e-f853-43e7-bcbc-2879a2513833" providerId="ADAL" clId="{BEB5DB81-D722-724F-85CE-75021972ADA7}" dt="2023-04-04T07:59:48.049" v="5739" actId="1076"/>
          <ac:graphicFrameMkLst>
            <pc:docMk/>
            <pc:sldMk cId="2796484050" sldId="490"/>
            <ac:graphicFrameMk id="7" creationId="{F28613E1-060F-E801-2F04-703BD0AA3187}"/>
          </ac:graphicFrameMkLst>
        </pc:graphicFrameChg>
      </pc:sldChg>
      <pc:sldChg chg="modSp new mod ord">
        <pc:chgData name="Oehrli, Stefan" userId="3f36891e-f853-43e7-bcbc-2879a2513833" providerId="ADAL" clId="{BEB5DB81-D722-724F-85CE-75021972ADA7}" dt="2023-04-04T07:16:18.107" v="5302" actId="404"/>
        <pc:sldMkLst>
          <pc:docMk/>
          <pc:sldMk cId="1614343025" sldId="491"/>
        </pc:sldMkLst>
        <pc:spChg chg="mod">
          <ac:chgData name="Oehrli, Stefan" userId="3f36891e-f853-43e7-bcbc-2879a2513833" providerId="ADAL" clId="{BEB5DB81-D722-724F-85CE-75021972ADA7}" dt="2023-04-04T05:44:43.828" v="4266"/>
          <ac:spMkLst>
            <pc:docMk/>
            <pc:sldMk cId="1614343025" sldId="491"/>
            <ac:spMk id="2" creationId="{D40268A9-33B2-3ADF-9173-8096A8BD6A2B}"/>
          </ac:spMkLst>
        </pc:spChg>
        <pc:spChg chg="mod">
          <ac:chgData name="Oehrli, Stefan" userId="3f36891e-f853-43e7-bcbc-2879a2513833" providerId="ADAL" clId="{BEB5DB81-D722-724F-85CE-75021972ADA7}" dt="2023-04-04T07:16:18.107" v="5302" actId="404"/>
          <ac:spMkLst>
            <pc:docMk/>
            <pc:sldMk cId="1614343025" sldId="491"/>
            <ac:spMk id="3" creationId="{994D0480-3642-49DA-3035-73904289BA1F}"/>
          </ac:spMkLst>
        </pc:spChg>
        <pc:spChg chg="mod">
          <ac:chgData name="Oehrli, Stefan" userId="3f36891e-f853-43e7-bcbc-2879a2513833" providerId="ADAL" clId="{BEB5DB81-D722-724F-85CE-75021972ADA7}" dt="2023-04-04T05:45:17.472" v="4296" actId="5793"/>
          <ac:spMkLst>
            <pc:docMk/>
            <pc:sldMk cId="1614343025" sldId="491"/>
            <ac:spMk id="4" creationId="{049AA7B9-E1FA-C145-0781-7CC3A519D71D}"/>
          </ac:spMkLst>
        </pc:spChg>
      </pc:sldChg>
      <pc:sldChg chg="add">
        <pc:chgData name="Oehrli, Stefan" userId="3f36891e-f853-43e7-bcbc-2879a2513833" providerId="ADAL" clId="{BEB5DB81-D722-724F-85CE-75021972ADA7}" dt="2023-04-04T05:46:17.067" v="4297"/>
        <pc:sldMkLst>
          <pc:docMk/>
          <pc:sldMk cId="2239675501" sldId="2147138090"/>
        </pc:sldMkLst>
      </pc:sldChg>
      <pc:sldChg chg="modSp add mod">
        <pc:chgData name="Oehrli, Stefan" userId="3f36891e-f853-43e7-bcbc-2879a2513833" providerId="ADAL" clId="{BEB5DB81-D722-724F-85CE-75021972ADA7}" dt="2023-04-04T05:55:53.324" v="4399" actId="20577"/>
        <pc:sldMkLst>
          <pc:docMk/>
          <pc:sldMk cId="3395144429" sldId="2147138091"/>
        </pc:sldMkLst>
        <pc:spChg chg="mod">
          <ac:chgData name="Oehrli, Stefan" userId="3f36891e-f853-43e7-bcbc-2879a2513833" providerId="ADAL" clId="{BEB5DB81-D722-724F-85CE-75021972ADA7}" dt="2023-04-04T05:55:53.324" v="4399" actId="20577"/>
          <ac:spMkLst>
            <pc:docMk/>
            <pc:sldMk cId="3395144429" sldId="2147138091"/>
            <ac:spMk id="3" creationId="{3BA736C6-2418-7DF3-5BB9-9F927BC2E9E2}"/>
          </ac:spMkLst>
        </pc:spChg>
      </pc:sldChg>
      <pc:sldChg chg="addSp delSp modSp new mod">
        <pc:chgData name="Oehrli, Stefan" userId="3f36891e-f853-43e7-bcbc-2879a2513833" providerId="ADAL" clId="{BEB5DB81-D722-724F-85CE-75021972ADA7}" dt="2023-04-04T07:10:47.079" v="4860" actId="1076"/>
        <pc:sldMkLst>
          <pc:docMk/>
          <pc:sldMk cId="317829916" sldId="2147138092"/>
        </pc:sldMkLst>
        <pc:spChg chg="mod">
          <ac:chgData name="Oehrli, Stefan" userId="3f36891e-f853-43e7-bcbc-2879a2513833" providerId="ADAL" clId="{BEB5DB81-D722-724F-85CE-75021972ADA7}" dt="2023-04-04T06:59:22.556" v="4488" actId="20577"/>
          <ac:spMkLst>
            <pc:docMk/>
            <pc:sldMk cId="317829916" sldId="2147138092"/>
            <ac:spMk id="2" creationId="{EF67FA65-7F11-EED9-8AD8-11DDFFBA272E}"/>
          </ac:spMkLst>
        </pc:spChg>
        <pc:spChg chg="mod">
          <ac:chgData name="Oehrli, Stefan" userId="3f36891e-f853-43e7-bcbc-2879a2513833" providerId="ADAL" clId="{BEB5DB81-D722-724F-85CE-75021972ADA7}" dt="2023-04-04T07:10:39.353" v="4857" actId="20577"/>
          <ac:spMkLst>
            <pc:docMk/>
            <pc:sldMk cId="317829916" sldId="2147138092"/>
            <ac:spMk id="3" creationId="{D9D21854-F44B-8FF6-39AA-682617FB8A6E}"/>
          </ac:spMkLst>
        </pc:spChg>
        <pc:spChg chg="del">
          <ac:chgData name="Oehrli, Stefan" userId="3f36891e-f853-43e7-bcbc-2879a2513833" providerId="ADAL" clId="{BEB5DB81-D722-724F-85CE-75021972ADA7}" dt="2023-04-04T06:59:10.760" v="4469"/>
          <ac:spMkLst>
            <pc:docMk/>
            <pc:sldMk cId="317829916" sldId="2147138092"/>
            <ac:spMk id="4" creationId="{5B8F9698-5F9B-35A4-7C09-A9A984A1B9E8}"/>
          </ac:spMkLst>
        </pc:spChg>
        <pc:spChg chg="mod">
          <ac:chgData name="Oehrli, Stefan" userId="3f36891e-f853-43e7-bcbc-2879a2513833" providerId="ADAL" clId="{BEB5DB81-D722-724F-85CE-75021972ADA7}" dt="2023-04-04T07:00:03.101" v="4489"/>
          <ac:spMkLst>
            <pc:docMk/>
            <pc:sldMk cId="317829916" sldId="2147138092"/>
            <ac:spMk id="6" creationId="{1F38A86D-E635-6414-002B-0FD0341850ED}"/>
          </ac:spMkLst>
        </pc:spChg>
        <pc:picChg chg="add mod">
          <ac:chgData name="Oehrli, Stefan" userId="3f36891e-f853-43e7-bcbc-2879a2513833" providerId="ADAL" clId="{BEB5DB81-D722-724F-85CE-75021972ADA7}" dt="2023-04-04T07:10:47.079" v="4860" actId="1076"/>
          <ac:picMkLst>
            <pc:docMk/>
            <pc:sldMk cId="317829916" sldId="2147138092"/>
            <ac:picMk id="8" creationId="{1AA61255-02D5-4F56-1E0C-0131F4E31E90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4T07:34:07.339" v="5336" actId="14100"/>
        <pc:sldMkLst>
          <pc:docMk/>
          <pc:sldMk cId="2357845878" sldId="2147138093"/>
        </pc:sldMkLst>
        <pc:spChg chg="mod">
          <ac:chgData name="Oehrli, Stefan" userId="3f36891e-f853-43e7-bcbc-2879a2513833" providerId="ADAL" clId="{BEB5DB81-D722-724F-85CE-75021972ADA7}" dt="2023-04-04T07:33:32.541" v="5331" actId="20577"/>
          <ac:spMkLst>
            <pc:docMk/>
            <pc:sldMk cId="2357845878" sldId="2147138093"/>
            <ac:spMk id="2" creationId="{C71B8080-0C0B-6314-E0B6-6191556A6B16}"/>
          </ac:spMkLst>
        </pc:spChg>
        <pc:spChg chg="del">
          <ac:chgData name="Oehrli, Stefan" userId="3f36891e-f853-43e7-bcbc-2879a2513833" providerId="ADAL" clId="{BEB5DB81-D722-724F-85CE-75021972ADA7}" dt="2023-04-04T07:33:59.616" v="5333"/>
          <ac:spMkLst>
            <pc:docMk/>
            <pc:sldMk cId="2357845878" sldId="2147138093"/>
            <ac:spMk id="3" creationId="{E36ADB8B-9B92-A099-27B2-2446F052F47A}"/>
          </ac:spMkLst>
        </pc:spChg>
        <pc:spChg chg="mod">
          <ac:chgData name="Oehrli, Stefan" userId="3f36891e-f853-43e7-bcbc-2879a2513833" providerId="ADAL" clId="{BEB5DB81-D722-724F-85CE-75021972ADA7}" dt="2023-04-04T07:33:53.899" v="5332"/>
          <ac:spMkLst>
            <pc:docMk/>
            <pc:sldMk cId="2357845878" sldId="2147138093"/>
            <ac:spMk id="4" creationId="{FBB11C5B-228E-6261-07C8-6632358250BA}"/>
          </ac:spMkLst>
        </pc:spChg>
        <pc:picChg chg="add mod">
          <ac:chgData name="Oehrli, Stefan" userId="3f36891e-f853-43e7-bcbc-2879a2513833" providerId="ADAL" clId="{BEB5DB81-D722-724F-85CE-75021972ADA7}" dt="2023-04-04T07:34:07.339" v="5336" actId="14100"/>
          <ac:picMkLst>
            <pc:docMk/>
            <pc:sldMk cId="2357845878" sldId="2147138093"/>
            <ac:picMk id="7" creationId="{D01C538F-9DC5-107A-0078-2062DB29DA27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7:57:37.836" v="5708" actId="478"/>
        <pc:sldMkLst>
          <pc:docMk/>
          <pc:sldMk cId="146749824" sldId="2147138094"/>
        </pc:sldMkLst>
        <pc:spChg chg="mod">
          <ac:chgData name="Oehrli, Stefan" userId="3f36891e-f853-43e7-bcbc-2879a2513833" providerId="ADAL" clId="{BEB5DB81-D722-724F-85CE-75021972ADA7}" dt="2023-04-04T07:53:23.400" v="5552"/>
          <ac:spMkLst>
            <pc:docMk/>
            <pc:sldMk cId="146749824" sldId="2147138094"/>
            <ac:spMk id="2" creationId="{15D7DB5A-4D0A-3477-DAAD-FB85CF83CE9F}"/>
          </ac:spMkLst>
        </pc:spChg>
        <pc:spChg chg="add mod">
          <ac:chgData name="Oehrli, Stefan" userId="3f36891e-f853-43e7-bcbc-2879a2513833" providerId="ADAL" clId="{BEB5DB81-D722-724F-85CE-75021972ADA7}" dt="2023-04-04T07:57:04.624" v="5703" actId="767"/>
          <ac:spMkLst>
            <pc:docMk/>
            <pc:sldMk cId="146749824" sldId="2147138094"/>
            <ac:spMk id="3" creationId="{D1C09C05-3E35-FA14-9A43-95662FCDE603}"/>
          </ac:spMkLst>
        </pc:spChg>
        <pc:spChg chg="mod">
          <ac:chgData name="Oehrli, Stefan" userId="3f36891e-f853-43e7-bcbc-2879a2513833" providerId="ADAL" clId="{BEB5DB81-D722-724F-85CE-75021972ADA7}" dt="2023-04-04T07:57:03.366" v="5702" actId="1076"/>
          <ac:spMkLst>
            <pc:docMk/>
            <pc:sldMk cId="146749824" sldId="2147138094"/>
            <ac:spMk id="5" creationId="{1BF55F7F-202E-E506-8A4A-460733D36436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1" creationId="{140411BF-00B4-965C-F288-9D23808910CD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2" creationId="{6A14E84B-88F3-1D85-B9DA-FA8D15696E73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3" creationId="{105D6CFB-A5CA-AABA-C35F-984347761F34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4" creationId="{3C1E3811-2474-9F4D-964F-AA2E44D35CC4}"/>
          </ac:spMkLst>
        </pc:spChg>
        <pc:spChg chg="del">
          <ac:chgData name="Oehrli, Stefan" userId="3f36891e-f853-43e7-bcbc-2879a2513833" providerId="ADAL" clId="{BEB5DB81-D722-724F-85CE-75021972ADA7}" dt="2023-04-04T07:57:34.881" v="5707" actId="478"/>
          <ac:spMkLst>
            <pc:docMk/>
            <pc:sldMk cId="146749824" sldId="2147138094"/>
            <ac:spMk id="16" creationId="{039E456F-CFD4-A0D8-0C82-8AAC4BB93CF0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8" creationId="{8263FDB5-A5E8-38D7-5270-45DBCB633184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9" creationId="{DFED9CF7-BDB8-CA1A-A7D1-85267702FCF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0" creationId="{A939DDCA-9CB1-5814-EC75-060F1439176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1" creationId="{23FAC0C4-AA28-E8D1-7CB0-980503527141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23" creationId="{0F1BAADA-1368-D88B-033F-73AFE9337737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3" creationId="{2E251419-1F7E-D6B0-2C81-433FDEBFCFCB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4" creationId="{715DFC3F-8D2D-53E2-603D-5DA558CDDE9D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5" creationId="{C3141446-5F4A-AC67-7D95-BC5FC960D022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37" creationId="{73D451B8-804E-AAD4-74D4-C922A168B52A}"/>
          </ac:spMkLst>
        </pc:spChg>
        <pc:spChg chg="del">
          <ac:chgData name="Oehrli, Stefan" userId="3f36891e-f853-43e7-bcbc-2879a2513833" providerId="ADAL" clId="{BEB5DB81-D722-724F-85CE-75021972ADA7}" dt="2023-04-04T07:56:53.695" v="5700" actId="478"/>
          <ac:spMkLst>
            <pc:docMk/>
            <pc:sldMk cId="146749824" sldId="2147138094"/>
            <ac:spMk id="40" creationId="{8C6D2FE7-1A5F-1FC5-1510-3A405E326040}"/>
          </ac:spMkLst>
        </pc:spChg>
        <pc:spChg chg="mod">
          <ac:chgData name="Oehrli, Stefan" userId="3f36891e-f853-43e7-bcbc-2879a2513833" providerId="ADAL" clId="{BEB5DB81-D722-724F-85CE-75021972ADA7}" dt="2023-04-04T07:56:50.997" v="5699" actId="1076"/>
          <ac:spMkLst>
            <pc:docMk/>
            <pc:sldMk cId="146749824" sldId="2147138094"/>
            <ac:spMk id="41" creationId="{C640B0D7-046A-AF4E-2DE7-DC01383FA6DB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7" creationId="{8CB71DEB-6AB9-7A51-34D0-AFBECEEE3B7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9" creationId="{CDA02043-7937-A050-1D98-F900666B3533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0" creationId="{A0F4C490-F9B3-9654-A93D-08BDD7C78727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5" creationId="{1C390F95-EB47-4675-C9EA-2BB291A937B8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6" creationId="{B4FFEE5F-B0DC-E39D-06B4-E390D4638465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7" creationId="{89A56268-330F-2254-914B-C9D24E6D5966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8" creationId="{430626FE-4A0A-1C43-5CC2-BBE4F3F20DF0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2" creationId="{223BF0A2-147D-7537-0B8E-A56ABE79B4D1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3" creationId="{82DE1308-22C5-66DF-EC3B-5C7768058FB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4" creationId="{3A0C56F8-5FC7-DF5A-45E9-3014654522F5}"/>
          </ac:spMkLst>
        </pc:spChg>
        <pc:graphicFrameChg chg="mod modGraphic">
          <ac:chgData name="Oehrli, Stefan" userId="3f36891e-f853-43e7-bcbc-2879a2513833" providerId="ADAL" clId="{BEB5DB81-D722-724F-85CE-75021972ADA7}" dt="2023-04-04T07:56:16.809" v="5695" actId="20577"/>
          <ac:graphicFrameMkLst>
            <pc:docMk/>
            <pc:sldMk cId="146749824" sldId="2147138094"/>
            <ac:graphicFrameMk id="7" creationId="{F28613E1-060F-E801-2F04-703BD0AA3187}"/>
          </ac:graphicFrameMkLst>
        </pc:graphicFrameChg>
      </pc:sldChg>
      <pc:sldChg chg="new del">
        <pc:chgData name="Oehrli, Stefan" userId="3f36891e-f853-43e7-bcbc-2879a2513833" providerId="ADAL" clId="{BEB5DB81-D722-724F-85CE-75021972ADA7}" dt="2023-04-04T08:35:52.959" v="6094" actId="2696"/>
        <pc:sldMkLst>
          <pc:docMk/>
          <pc:sldMk cId="693805704" sldId="2147138095"/>
        </pc:sldMkLst>
      </pc:sldChg>
      <pc:sldChg chg="addSp modSp add del mod modClrScheme chgLayout">
        <pc:chgData name="Oehrli, Stefan" userId="3f36891e-f853-43e7-bcbc-2879a2513833" providerId="ADAL" clId="{BEB5DB81-D722-724F-85CE-75021972ADA7}" dt="2023-04-04T08:35:51.700" v="6093" actId="2696"/>
        <pc:sldMkLst>
          <pc:docMk/>
          <pc:sldMk cId="3873890488" sldId="2147138096"/>
        </pc:sldMkLst>
        <pc:spChg chg="add 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2" creationId="{41338E46-6442-6446-46AC-BB1EFA145EE2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5" creationId="{1478C109-E3A6-05F0-9C76-D28E53CC170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6" creationId="{D983ECF6-A3DC-FADE-0DC1-EEE55955055E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7" creationId="{C124A808-16DB-889A-9FA2-0EC159F0802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8" creationId="{D6C69559-AFCC-9F44-3767-14E98B80048D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9" creationId="{F1F65E65-F395-1F1E-86BF-B9944CA8B1F8}"/>
          </ac:spMkLst>
        </pc:spChg>
      </pc:sldChg>
      <pc:sldChg chg="addSp delSp modSp new mod ord modClrScheme chgLayout">
        <pc:chgData name="Oehrli, Stefan" userId="3f36891e-f853-43e7-bcbc-2879a2513833" providerId="ADAL" clId="{BEB5DB81-D722-724F-85CE-75021972ADA7}" dt="2023-04-04T08:32:05.206" v="5833" actId="1440"/>
        <pc:sldMkLst>
          <pc:docMk/>
          <pc:sldMk cId="783367747" sldId="2147138097"/>
        </pc:sldMkLst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2" creationId="{EE5BB8DA-91A1-43B5-22F8-45F4F123DFB2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3" creationId="{693493AF-0C80-C262-1060-42D73D5FCB5C}"/>
          </ac:spMkLst>
        </pc:spChg>
        <pc:spChg chg="del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4" creationId="{2BB7BA35-C4E9-E1DF-5C63-DA64EB77F75F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5" creationId="{26EA4C3A-CA5C-283A-A25C-45311C9C1CEA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6" creationId="{19E99F15-D80E-498D-4469-05629006EE85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7" creationId="{56D533B8-4332-F626-4927-FCDD71C6BCCD}"/>
          </ac:spMkLst>
        </pc:spChg>
        <pc:spChg chg="add mod ord">
          <ac:chgData name="Oehrli, Stefan" userId="3f36891e-f853-43e7-bcbc-2879a2513833" providerId="ADAL" clId="{BEB5DB81-D722-724F-85CE-75021972ADA7}" dt="2023-04-04T08:31:27.104" v="5774"/>
          <ac:spMkLst>
            <pc:docMk/>
            <pc:sldMk cId="783367747" sldId="2147138097"/>
            <ac:spMk id="8" creationId="{ACDDC423-E697-92D3-8ED9-BEF6CBB23483}"/>
          </ac:spMkLst>
        </pc:spChg>
        <pc:spChg chg="add del mod ord">
          <ac:chgData name="Oehrli, Stefan" userId="3f36891e-f853-43e7-bcbc-2879a2513833" providerId="ADAL" clId="{BEB5DB81-D722-724F-85CE-75021972ADA7}" dt="2023-04-04T08:31:11.712" v="5770"/>
          <ac:spMkLst>
            <pc:docMk/>
            <pc:sldMk cId="783367747" sldId="2147138097"/>
            <ac:spMk id="9" creationId="{18AA05F6-63FC-DCED-A4EA-082E0ADE0DF6}"/>
          </ac:spMkLst>
        </pc:spChg>
        <pc:spChg chg="add mod ord">
          <ac:chgData name="Oehrli, Stefan" userId="3f36891e-f853-43e7-bcbc-2879a2513833" providerId="ADAL" clId="{BEB5DB81-D722-724F-85CE-75021972ADA7}" dt="2023-04-04T08:31:59.259" v="5832" actId="20577"/>
          <ac:spMkLst>
            <pc:docMk/>
            <pc:sldMk cId="783367747" sldId="2147138097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05.206" v="5833" actId="1440"/>
          <ac:picMkLst>
            <pc:docMk/>
            <pc:sldMk cId="783367747" sldId="2147138097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3:30.947" v="5904" actId="20577"/>
        <pc:sldMkLst>
          <pc:docMk/>
          <pc:sldMk cId="3995055900" sldId="2147138098"/>
        </pc:sldMkLst>
        <pc:spChg chg="add del mod">
          <ac:chgData name="Oehrli, Stefan" userId="3f36891e-f853-43e7-bcbc-2879a2513833" providerId="ADAL" clId="{BEB5DB81-D722-724F-85CE-75021972ADA7}" dt="2023-04-04T08:32:52.600" v="5837"/>
          <ac:spMkLst>
            <pc:docMk/>
            <pc:sldMk cId="3995055900" sldId="2147138098"/>
            <ac:spMk id="3" creationId="{E416B25E-5372-AEED-6B21-5B85DBD4C6B4}"/>
          </ac:spMkLst>
        </pc:spChg>
        <pc:spChg chg="mod">
          <ac:chgData name="Oehrli, Stefan" userId="3f36891e-f853-43e7-bcbc-2879a2513833" providerId="ADAL" clId="{BEB5DB81-D722-724F-85CE-75021972ADA7}" dt="2023-04-04T08:33:30.947" v="5904" actId="20577"/>
          <ac:spMkLst>
            <pc:docMk/>
            <pc:sldMk cId="3995055900" sldId="2147138098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58.932" v="5838" actId="1440"/>
          <ac:picMkLst>
            <pc:docMk/>
            <pc:sldMk cId="3995055900" sldId="2147138098"/>
            <ac:picMk id="4" creationId="{F0786668-466D-F4D1-B8D8-2379C6C189A8}"/>
          </ac:picMkLst>
        </pc:picChg>
        <pc:picChg chg="del">
          <ac:chgData name="Oehrli, Stefan" userId="3f36891e-f853-43e7-bcbc-2879a2513833" providerId="ADAL" clId="{BEB5DB81-D722-724F-85CE-75021972ADA7}" dt="2023-04-04T08:32:18.724" v="5836" actId="478"/>
          <ac:picMkLst>
            <pc:docMk/>
            <pc:sldMk cId="3995055900" sldId="2147138098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8:44.702" v="6113"/>
        <pc:sldMkLst>
          <pc:docMk/>
          <pc:sldMk cId="2392979661" sldId="2147138099"/>
        </pc:sldMkLst>
        <pc:spChg chg="add del mod">
          <ac:chgData name="Oehrli, Stefan" userId="3f36891e-f853-43e7-bcbc-2879a2513833" providerId="ADAL" clId="{BEB5DB81-D722-724F-85CE-75021972ADA7}" dt="2023-04-04T08:37:20.517" v="6101"/>
          <ac:spMkLst>
            <pc:docMk/>
            <pc:sldMk cId="2392979661" sldId="2147138099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8:44.702" v="6113"/>
          <ac:spMkLst>
            <pc:docMk/>
            <pc:sldMk cId="2392979661" sldId="2147138099"/>
            <ac:spMk id="10" creationId="{EB710A19-30BC-38A8-9E4C-E9484CBB1D4F}"/>
          </ac:spMkLst>
        </pc:spChg>
        <pc:picChg chg="del">
          <ac:chgData name="Oehrli, Stefan" userId="3f36891e-f853-43e7-bcbc-2879a2513833" providerId="ADAL" clId="{BEB5DB81-D722-724F-85CE-75021972ADA7}" dt="2023-04-04T08:34:02.982" v="5926" actId="478"/>
          <ac:picMkLst>
            <pc:docMk/>
            <pc:sldMk cId="2392979661" sldId="2147138099"/>
            <ac:picMk id="4" creationId="{F0786668-466D-F4D1-B8D8-2379C6C189A8}"/>
          </ac:picMkLst>
        </pc:picChg>
        <pc:picChg chg="add mod">
          <ac:chgData name="Oehrli, Stefan" userId="3f36891e-f853-43e7-bcbc-2879a2513833" providerId="ADAL" clId="{BEB5DB81-D722-724F-85CE-75021972ADA7}" dt="2023-04-04T08:37:27.397" v="6102" actId="1440"/>
          <ac:picMkLst>
            <pc:docMk/>
            <pc:sldMk cId="2392979661" sldId="2147138099"/>
            <ac:picMk id="6" creationId="{6DD28763-FE02-91A5-065F-50CBC34579AC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6:30.548" v="6166" actId="1076"/>
        <pc:sldMkLst>
          <pc:docMk/>
          <pc:sldMk cId="4134112622" sldId="2147138100"/>
        </pc:sldMkLst>
        <pc:spChg chg="add del">
          <ac:chgData name="Oehrli, Stefan" userId="3f36891e-f853-43e7-bcbc-2879a2513833" providerId="ADAL" clId="{BEB5DB81-D722-724F-85CE-75021972ADA7}" dt="2023-04-04T08:46:10.244" v="6160"/>
          <ac:spMkLst>
            <pc:docMk/>
            <pc:sldMk cId="4134112622" sldId="2147138100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6.727" v="6151" actId="20577"/>
          <ac:spMkLst>
            <pc:docMk/>
            <pc:sldMk cId="4134112622" sldId="2147138100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5:21.582" v="6145"/>
          <ac:picMkLst>
            <pc:docMk/>
            <pc:sldMk cId="4134112622" sldId="2147138100"/>
            <ac:picMk id="2" creationId="{5E88D90A-937E-79ED-C151-FD6938C514D1}"/>
          </ac:picMkLst>
        </pc:picChg>
        <pc:picChg chg="add mod">
          <ac:chgData name="Oehrli, Stefan" userId="3f36891e-f853-43e7-bcbc-2879a2513833" providerId="ADAL" clId="{BEB5DB81-D722-724F-85CE-75021972ADA7}" dt="2023-04-04T08:46:30.548" v="6166" actId="1076"/>
          <ac:picMkLst>
            <pc:docMk/>
            <pc:sldMk cId="4134112622" sldId="2147138100"/>
            <ac:picMk id="4" creationId="{CBF71A2D-552D-7678-F913-69D79077B51E}"/>
          </ac:picMkLst>
        </pc:picChg>
        <pc:picChg chg="add mod">
          <ac:chgData name="Oehrli, Stefan" userId="3f36891e-f853-43e7-bcbc-2879a2513833" providerId="ADAL" clId="{BEB5DB81-D722-724F-85CE-75021972ADA7}" dt="2023-04-04T08:46:24.580" v="6164" actId="1076"/>
          <ac:picMkLst>
            <pc:docMk/>
            <pc:sldMk cId="4134112622" sldId="2147138100"/>
            <ac:picMk id="6" creationId="{AC4F28CE-7E75-157C-3B98-D4C2F352DAD2}"/>
          </ac:picMkLst>
        </pc:picChg>
      </pc:sldChg>
      <pc:sldChg chg="addSp delSp modSp add mod ord">
        <pc:chgData name="Oehrli, Stefan" userId="3f36891e-f853-43e7-bcbc-2879a2513833" providerId="ADAL" clId="{BEB5DB81-D722-724F-85CE-75021972ADA7}" dt="2023-04-04T08:45:52.064" v="6156" actId="1076"/>
        <pc:sldMkLst>
          <pc:docMk/>
          <pc:sldMk cId="1824643830" sldId="2147138101"/>
        </pc:sldMkLst>
        <pc:spChg chg="add del">
          <ac:chgData name="Oehrli, Stefan" userId="3f36891e-f853-43e7-bcbc-2879a2513833" providerId="ADAL" clId="{BEB5DB81-D722-724F-85CE-75021972ADA7}" dt="2023-04-04T08:44:55.590" v="6135"/>
          <ac:spMkLst>
            <pc:docMk/>
            <pc:sldMk cId="1824643830" sldId="2147138101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3.310" v="6149" actId="21"/>
          <ac:spMkLst>
            <pc:docMk/>
            <pc:sldMk cId="1824643830" sldId="2147138101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4:39.839" v="6133"/>
          <ac:picMkLst>
            <pc:docMk/>
            <pc:sldMk cId="1824643830" sldId="2147138101"/>
            <ac:picMk id="2" creationId="{84DE6D42-F6FE-1E8E-EBFE-B99CF5E77D66}"/>
          </ac:picMkLst>
        </pc:picChg>
        <pc:picChg chg="add del">
          <ac:chgData name="Oehrli, Stefan" userId="3f36891e-f853-43e7-bcbc-2879a2513833" providerId="ADAL" clId="{BEB5DB81-D722-724F-85CE-75021972ADA7}" dt="2023-04-04T08:45:11.947" v="6142" actId="21"/>
          <ac:picMkLst>
            <pc:docMk/>
            <pc:sldMk cId="1824643830" sldId="2147138101"/>
            <ac:picMk id="4" creationId="{9B3FE688-6D83-599A-6DF5-504E24D7B768}"/>
          </ac:picMkLst>
        </pc:picChg>
        <pc:picChg chg="add mod">
          <ac:chgData name="Oehrli, Stefan" userId="3f36891e-f853-43e7-bcbc-2879a2513833" providerId="ADAL" clId="{BEB5DB81-D722-724F-85CE-75021972ADA7}" dt="2023-04-04T08:45:44.487" v="6153" actId="1076"/>
          <ac:picMkLst>
            <pc:docMk/>
            <pc:sldMk cId="1824643830" sldId="2147138101"/>
            <ac:picMk id="6" creationId="{2730AADF-A5C3-DCBD-A6E1-C1049C88C1B8}"/>
          </ac:picMkLst>
        </pc:picChg>
        <pc:picChg chg="add mod">
          <ac:chgData name="Oehrli, Stefan" userId="3f36891e-f853-43e7-bcbc-2879a2513833" providerId="ADAL" clId="{BEB5DB81-D722-724F-85CE-75021972ADA7}" dt="2023-04-04T08:45:52.064" v="6156" actId="1076"/>
          <ac:picMkLst>
            <pc:docMk/>
            <pc:sldMk cId="1824643830" sldId="2147138101"/>
            <ac:picMk id="9" creationId="{596AEC4F-D3BA-274F-CB04-21124BAD20F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6:56.192" v="6100" actId="1440"/>
        <pc:sldMkLst>
          <pc:docMk/>
          <pc:sldMk cId="3480061740" sldId="2147138102"/>
        </pc:sldMkLst>
        <pc:spChg chg="del">
          <ac:chgData name="Oehrli, Stefan" userId="3f36891e-f853-43e7-bcbc-2879a2513833" providerId="ADAL" clId="{BEB5DB81-D722-724F-85CE-75021972ADA7}" dt="2023-04-04T08:36:43.771" v="6095"/>
          <ac:spMkLst>
            <pc:docMk/>
            <pc:sldMk cId="3480061740" sldId="2147138102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4:50.723" v="6002" actId="20577"/>
          <ac:spMkLst>
            <pc:docMk/>
            <pc:sldMk cId="3480061740" sldId="2147138102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6:56.192" v="6100" actId="1440"/>
          <ac:picMkLst>
            <pc:docMk/>
            <pc:sldMk cId="3480061740" sldId="2147138102"/>
            <ac:picMk id="2" creationId="{81B29BA5-23DD-3828-3D3A-ED5D1CCAB6B3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9:54.361" v="6115" actId="1440"/>
        <pc:sldMkLst>
          <pc:docMk/>
          <pc:sldMk cId="524717567" sldId="2147138103"/>
        </pc:sldMkLst>
        <pc:spChg chg="del">
          <ac:chgData name="Oehrli, Stefan" userId="3f36891e-f853-43e7-bcbc-2879a2513833" providerId="ADAL" clId="{BEB5DB81-D722-724F-85CE-75021972ADA7}" dt="2023-04-04T08:39:46.600" v="6114"/>
          <ac:spMkLst>
            <pc:docMk/>
            <pc:sldMk cId="524717567" sldId="2147138103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5:12.132" v="6049" actId="20577"/>
          <ac:spMkLst>
            <pc:docMk/>
            <pc:sldMk cId="524717567" sldId="2147138103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9:54.361" v="6115" actId="1440"/>
          <ac:picMkLst>
            <pc:docMk/>
            <pc:sldMk cId="524717567" sldId="2147138103"/>
            <ac:picMk id="2" creationId="{4E77313A-1512-96BE-AB0B-C92A0851F6F1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9:31.022" v="6259" actId="1440"/>
        <pc:sldMkLst>
          <pc:docMk/>
          <pc:sldMk cId="3009414584" sldId="2147138104"/>
        </pc:sldMkLst>
        <pc:spChg chg="del mod">
          <ac:chgData name="Oehrli, Stefan" userId="3f36891e-f853-43e7-bcbc-2879a2513833" providerId="ADAL" clId="{BEB5DB81-D722-724F-85CE-75021972ADA7}" dt="2023-04-04T08:49:22.814" v="6256"/>
          <ac:spMkLst>
            <pc:docMk/>
            <pc:sldMk cId="3009414584" sldId="2147138104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9:10.889" v="6254" actId="5793"/>
          <ac:spMkLst>
            <pc:docMk/>
            <pc:sldMk cId="3009414584" sldId="2147138104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49:31.022" v="6259" actId="1440"/>
          <ac:picMkLst>
            <pc:docMk/>
            <pc:sldMk cId="3009414584" sldId="2147138104"/>
            <ac:picMk id="2" creationId="{5E4E066B-776C-3B4F-30E2-FDB257D40712}"/>
          </ac:picMkLst>
        </pc:picChg>
      </pc:sldChg>
    </pc:docChg>
  </pc:docChgLst>
  <pc:docChgLst>
    <pc:chgData name="Oehrli, Stefan" userId="3f36891e-f853-43e7-bcbc-2879a2513833" providerId="ADAL" clId="{8AF65D7D-52A3-694C-B004-91F835AC7E11}"/>
    <pc:docChg chg="delSld modSection">
      <pc:chgData name="Oehrli, Stefan" userId="3f36891e-f853-43e7-bcbc-2879a2513833" providerId="ADAL" clId="{8AF65D7D-52A3-694C-B004-91F835AC7E11}" dt="2023-08-23T09:07:38.902" v="44" actId="2696"/>
      <pc:docMkLst>
        <pc:docMk/>
      </pc:docMkLst>
      <pc:sldChg chg="del">
        <pc:chgData name="Oehrli, Stefan" userId="3f36891e-f853-43e7-bcbc-2879a2513833" providerId="ADAL" clId="{8AF65D7D-52A3-694C-B004-91F835AC7E11}" dt="2023-08-23T09:07:38.856" v="29" actId="2696"/>
        <pc:sldMkLst>
          <pc:docMk/>
          <pc:sldMk cId="3637957850" sldId="462"/>
        </pc:sldMkLst>
      </pc:sldChg>
      <pc:sldChg chg="del">
        <pc:chgData name="Oehrli, Stefan" userId="3f36891e-f853-43e7-bcbc-2879a2513833" providerId="ADAL" clId="{8AF65D7D-52A3-694C-B004-91F835AC7E11}" dt="2023-08-23T09:07:38.832" v="26" actId="2696"/>
        <pc:sldMkLst>
          <pc:docMk/>
          <pc:sldMk cId="472890992" sldId="463"/>
        </pc:sldMkLst>
      </pc:sldChg>
      <pc:sldChg chg="del">
        <pc:chgData name="Oehrli, Stefan" userId="3f36891e-f853-43e7-bcbc-2879a2513833" providerId="ADAL" clId="{8AF65D7D-52A3-694C-B004-91F835AC7E11}" dt="2023-08-23T09:07:38.822" v="16" actId="2696"/>
        <pc:sldMkLst>
          <pc:docMk/>
          <pc:sldMk cId="1625272212" sldId="464"/>
        </pc:sldMkLst>
      </pc:sldChg>
      <pc:sldChg chg="del">
        <pc:chgData name="Oehrli, Stefan" userId="3f36891e-f853-43e7-bcbc-2879a2513833" providerId="ADAL" clId="{8AF65D7D-52A3-694C-B004-91F835AC7E11}" dt="2023-08-23T09:07:38.864" v="40" actId="2696"/>
        <pc:sldMkLst>
          <pc:docMk/>
          <pc:sldMk cId="3850440555" sldId="465"/>
        </pc:sldMkLst>
      </pc:sldChg>
      <pc:sldChg chg="del">
        <pc:chgData name="Oehrli, Stefan" userId="3f36891e-f853-43e7-bcbc-2879a2513833" providerId="ADAL" clId="{8AF65D7D-52A3-694C-B004-91F835AC7E11}" dt="2023-08-23T09:07:38.821" v="15" actId="2696"/>
        <pc:sldMkLst>
          <pc:docMk/>
          <pc:sldMk cId="936731009" sldId="466"/>
        </pc:sldMkLst>
      </pc:sldChg>
      <pc:sldChg chg="del">
        <pc:chgData name="Oehrli, Stefan" userId="3f36891e-f853-43e7-bcbc-2879a2513833" providerId="ADAL" clId="{8AF65D7D-52A3-694C-B004-91F835AC7E11}" dt="2023-08-23T09:07:38.823" v="17" actId="2696"/>
        <pc:sldMkLst>
          <pc:docMk/>
          <pc:sldMk cId="3156609275" sldId="467"/>
        </pc:sldMkLst>
      </pc:sldChg>
      <pc:sldChg chg="del">
        <pc:chgData name="Oehrli, Stefan" userId="3f36891e-f853-43e7-bcbc-2879a2513833" providerId="ADAL" clId="{8AF65D7D-52A3-694C-B004-91F835AC7E11}" dt="2023-08-23T09:07:38.806" v="7" actId="2696"/>
        <pc:sldMkLst>
          <pc:docMk/>
          <pc:sldMk cId="97941229" sldId="468"/>
        </pc:sldMkLst>
      </pc:sldChg>
      <pc:sldChg chg="del">
        <pc:chgData name="Oehrli, Stefan" userId="3f36891e-f853-43e7-bcbc-2879a2513833" providerId="ADAL" clId="{8AF65D7D-52A3-694C-B004-91F835AC7E11}" dt="2023-08-23T09:07:38.814" v="8" actId="2696"/>
        <pc:sldMkLst>
          <pc:docMk/>
          <pc:sldMk cId="3036863141" sldId="472"/>
        </pc:sldMkLst>
      </pc:sldChg>
      <pc:sldChg chg="del">
        <pc:chgData name="Oehrli, Stefan" userId="3f36891e-f853-43e7-bcbc-2879a2513833" providerId="ADAL" clId="{8AF65D7D-52A3-694C-B004-91F835AC7E11}" dt="2023-08-23T09:07:38.831" v="25" actId="2696"/>
        <pc:sldMkLst>
          <pc:docMk/>
          <pc:sldMk cId="1007766103" sldId="2147138092"/>
        </pc:sldMkLst>
      </pc:sldChg>
      <pc:sldChg chg="del">
        <pc:chgData name="Oehrli, Stefan" userId="3f36891e-f853-43e7-bcbc-2879a2513833" providerId="ADAL" clId="{8AF65D7D-52A3-694C-B004-91F835AC7E11}" dt="2023-08-23T09:07:38.883" v="42" actId="2696"/>
        <pc:sldMkLst>
          <pc:docMk/>
          <pc:sldMk cId="458820387" sldId="2147138093"/>
        </pc:sldMkLst>
      </pc:sldChg>
      <pc:sldChg chg="del">
        <pc:chgData name="Oehrli, Stefan" userId="3f36891e-f853-43e7-bcbc-2879a2513833" providerId="ADAL" clId="{8AF65D7D-52A3-694C-B004-91F835AC7E11}" dt="2023-08-23T09:07:38.829" v="22" actId="2696"/>
        <pc:sldMkLst>
          <pc:docMk/>
          <pc:sldMk cId="4201040755" sldId="2147138094"/>
        </pc:sldMkLst>
      </pc:sldChg>
      <pc:sldChg chg="del">
        <pc:chgData name="Oehrli, Stefan" userId="3f36891e-f853-43e7-bcbc-2879a2513833" providerId="ADAL" clId="{8AF65D7D-52A3-694C-B004-91F835AC7E11}" dt="2023-08-23T09:07:38.858" v="31" actId="2696"/>
        <pc:sldMkLst>
          <pc:docMk/>
          <pc:sldMk cId="2619521435" sldId="2147138095"/>
        </pc:sldMkLst>
      </pc:sldChg>
      <pc:sldChg chg="del">
        <pc:chgData name="Oehrli, Stefan" userId="3f36891e-f853-43e7-bcbc-2879a2513833" providerId="ADAL" clId="{8AF65D7D-52A3-694C-B004-91F835AC7E11}" dt="2023-08-23T09:07:38.821" v="14" actId="2696"/>
        <pc:sldMkLst>
          <pc:docMk/>
          <pc:sldMk cId="4242205374" sldId="2147138096"/>
        </pc:sldMkLst>
      </pc:sldChg>
      <pc:sldChg chg="del">
        <pc:chgData name="Oehrli, Stefan" userId="3f36891e-f853-43e7-bcbc-2879a2513833" providerId="ADAL" clId="{8AF65D7D-52A3-694C-B004-91F835AC7E11}" dt="2023-08-23T09:07:38.801" v="3" actId="2696"/>
        <pc:sldMkLst>
          <pc:docMk/>
          <pc:sldMk cId="291683142" sldId="2147138097"/>
        </pc:sldMkLst>
      </pc:sldChg>
      <pc:sldChg chg="del">
        <pc:chgData name="Oehrli, Stefan" userId="3f36891e-f853-43e7-bcbc-2879a2513833" providerId="ADAL" clId="{8AF65D7D-52A3-694C-B004-91F835AC7E11}" dt="2023-08-23T09:07:38.820" v="13" actId="2696"/>
        <pc:sldMkLst>
          <pc:docMk/>
          <pc:sldMk cId="2165718264" sldId="2147138098"/>
        </pc:sldMkLst>
      </pc:sldChg>
      <pc:sldChg chg="del">
        <pc:chgData name="Oehrli, Stefan" userId="3f36891e-f853-43e7-bcbc-2879a2513833" providerId="ADAL" clId="{8AF65D7D-52A3-694C-B004-91F835AC7E11}" dt="2023-08-23T09:07:38.819" v="12" actId="2696"/>
        <pc:sldMkLst>
          <pc:docMk/>
          <pc:sldMk cId="3599430945" sldId="2147138099"/>
        </pc:sldMkLst>
      </pc:sldChg>
      <pc:sldChg chg="del">
        <pc:chgData name="Oehrli, Stefan" userId="3f36891e-f853-43e7-bcbc-2879a2513833" providerId="ADAL" clId="{8AF65D7D-52A3-694C-B004-91F835AC7E11}" dt="2023-08-23T09:07:38.824" v="18" actId="2696"/>
        <pc:sldMkLst>
          <pc:docMk/>
          <pc:sldMk cId="1136370493" sldId="2147138100"/>
        </pc:sldMkLst>
      </pc:sldChg>
      <pc:sldChg chg="del">
        <pc:chgData name="Oehrli, Stefan" userId="3f36891e-f853-43e7-bcbc-2879a2513833" providerId="ADAL" clId="{8AF65D7D-52A3-694C-B004-91F835AC7E11}" dt="2023-08-23T09:07:38.825" v="19" actId="2696"/>
        <pc:sldMkLst>
          <pc:docMk/>
          <pc:sldMk cId="1460390289" sldId="2147138101"/>
        </pc:sldMkLst>
      </pc:sldChg>
      <pc:sldChg chg="del">
        <pc:chgData name="Oehrli, Stefan" userId="3f36891e-f853-43e7-bcbc-2879a2513833" providerId="ADAL" clId="{8AF65D7D-52A3-694C-B004-91F835AC7E11}" dt="2023-08-23T09:07:38.818" v="11" actId="2696"/>
        <pc:sldMkLst>
          <pc:docMk/>
          <pc:sldMk cId="4224754524" sldId="2147138102"/>
        </pc:sldMkLst>
      </pc:sldChg>
      <pc:sldChg chg="del">
        <pc:chgData name="Oehrli, Stefan" userId="3f36891e-f853-43e7-bcbc-2879a2513833" providerId="ADAL" clId="{8AF65D7D-52A3-694C-B004-91F835AC7E11}" dt="2023-08-23T09:07:38.862" v="37" actId="2696"/>
        <pc:sldMkLst>
          <pc:docMk/>
          <pc:sldMk cId="2940822937" sldId="2147138103"/>
        </pc:sldMkLst>
      </pc:sldChg>
      <pc:sldChg chg="del">
        <pc:chgData name="Oehrli, Stefan" userId="3f36891e-f853-43e7-bcbc-2879a2513833" providerId="ADAL" clId="{8AF65D7D-52A3-694C-B004-91F835AC7E11}" dt="2023-08-23T09:07:38.803" v="5" actId="2696"/>
        <pc:sldMkLst>
          <pc:docMk/>
          <pc:sldMk cId="1680546933" sldId="2147138157"/>
        </pc:sldMkLst>
      </pc:sldChg>
      <pc:sldChg chg="del">
        <pc:chgData name="Oehrli, Stefan" userId="3f36891e-f853-43e7-bcbc-2879a2513833" providerId="ADAL" clId="{8AF65D7D-52A3-694C-B004-91F835AC7E11}" dt="2023-08-23T09:07:38.860" v="34" actId="2696"/>
        <pc:sldMkLst>
          <pc:docMk/>
          <pc:sldMk cId="81241993" sldId="2147138158"/>
        </pc:sldMkLst>
      </pc:sldChg>
      <pc:sldChg chg="del">
        <pc:chgData name="Oehrli, Stefan" userId="3f36891e-f853-43e7-bcbc-2879a2513833" providerId="ADAL" clId="{8AF65D7D-52A3-694C-B004-91F835AC7E11}" dt="2023-08-23T09:07:38.861" v="36" actId="2696"/>
        <pc:sldMkLst>
          <pc:docMk/>
          <pc:sldMk cId="2106918084" sldId="2147138159"/>
        </pc:sldMkLst>
      </pc:sldChg>
      <pc:sldChg chg="del">
        <pc:chgData name="Oehrli, Stefan" userId="3f36891e-f853-43e7-bcbc-2879a2513833" providerId="ADAL" clId="{8AF65D7D-52A3-694C-B004-91F835AC7E11}" dt="2023-08-23T09:07:38.830" v="23" actId="2696"/>
        <pc:sldMkLst>
          <pc:docMk/>
          <pc:sldMk cId="2239922136" sldId="2147138160"/>
        </pc:sldMkLst>
      </pc:sldChg>
      <pc:sldChg chg="del">
        <pc:chgData name="Oehrli, Stefan" userId="3f36891e-f853-43e7-bcbc-2879a2513833" providerId="ADAL" clId="{8AF65D7D-52A3-694C-B004-91F835AC7E11}" dt="2023-08-23T09:07:38.861" v="35" actId="2696"/>
        <pc:sldMkLst>
          <pc:docMk/>
          <pc:sldMk cId="3885212717" sldId="2147138161"/>
        </pc:sldMkLst>
      </pc:sldChg>
      <pc:sldChg chg="del">
        <pc:chgData name="Oehrli, Stefan" userId="3f36891e-f853-43e7-bcbc-2879a2513833" providerId="ADAL" clId="{8AF65D7D-52A3-694C-B004-91F835AC7E11}" dt="2023-08-23T09:07:38.817" v="10" actId="2696"/>
        <pc:sldMkLst>
          <pc:docMk/>
          <pc:sldMk cId="1472515380" sldId="2147138162"/>
        </pc:sldMkLst>
      </pc:sldChg>
      <pc:sldChg chg="del">
        <pc:chgData name="Oehrli, Stefan" userId="3f36891e-f853-43e7-bcbc-2879a2513833" providerId="ADAL" clId="{8AF65D7D-52A3-694C-B004-91F835AC7E11}" dt="2023-08-23T09:07:38.802" v="4" actId="2696"/>
        <pc:sldMkLst>
          <pc:docMk/>
          <pc:sldMk cId="1126432912" sldId="2147138163"/>
        </pc:sldMkLst>
      </pc:sldChg>
      <pc:sldChg chg="del">
        <pc:chgData name="Oehrli, Stefan" userId="3f36891e-f853-43e7-bcbc-2879a2513833" providerId="ADAL" clId="{8AF65D7D-52A3-694C-B004-91F835AC7E11}" dt="2023-08-23T09:07:38.799" v="2" actId="2696"/>
        <pc:sldMkLst>
          <pc:docMk/>
          <pc:sldMk cId="4280386133" sldId="2147138164"/>
        </pc:sldMkLst>
      </pc:sldChg>
      <pc:sldChg chg="del">
        <pc:chgData name="Oehrli, Stefan" userId="3f36891e-f853-43e7-bcbc-2879a2513833" providerId="ADAL" clId="{8AF65D7D-52A3-694C-B004-91F835AC7E11}" dt="2023-08-23T09:07:38.828" v="21" actId="2696"/>
        <pc:sldMkLst>
          <pc:docMk/>
          <pc:sldMk cId="387224444" sldId="2147138165"/>
        </pc:sldMkLst>
      </pc:sldChg>
      <pc:sldChg chg="del">
        <pc:chgData name="Oehrli, Stefan" userId="3f36891e-f853-43e7-bcbc-2879a2513833" providerId="ADAL" clId="{8AF65D7D-52A3-694C-B004-91F835AC7E11}" dt="2023-08-23T09:07:38.833" v="27" actId="2696"/>
        <pc:sldMkLst>
          <pc:docMk/>
          <pc:sldMk cId="664306202" sldId="2147138166"/>
        </pc:sldMkLst>
      </pc:sldChg>
      <pc:sldChg chg="del">
        <pc:chgData name="Oehrli, Stefan" userId="3f36891e-f853-43e7-bcbc-2879a2513833" providerId="ADAL" clId="{8AF65D7D-52A3-694C-B004-91F835AC7E11}" dt="2023-08-23T09:07:38.826" v="20" actId="2696"/>
        <pc:sldMkLst>
          <pc:docMk/>
          <pc:sldMk cId="283774615" sldId="2147138167"/>
        </pc:sldMkLst>
      </pc:sldChg>
      <pc:sldChg chg="del">
        <pc:chgData name="Oehrli, Stefan" userId="3f36891e-f853-43e7-bcbc-2879a2513833" providerId="ADAL" clId="{8AF65D7D-52A3-694C-B004-91F835AC7E11}" dt="2023-08-23T09:07:38.815" v="9" actId="2696"/>
        <pc:sldMkLst>
          <pc:docMk/>
          <pc:sldMk cId="590366419" sldId="2147138168"/>
        </pc:sldMkLst>
      </pc:sldChg>
      <pc:sldChg chg="del">
        <pc:chgData name="Oehrli, Stefan" userId="3f36891e-f853-43e7-bcbc-2879a2513833" providerId="ADAL" clId="{8AF65D7D-52A3-694C-B004-91F835AC7E11}" dt="2023-08-23T09:07:38.901" v="43" actId="2696"/>
        <pc:sldMkLst>
          <pc:docMk/>
          <pc:sldMk cId="4024699004" sldId="2147138169"/>
        </pc:sldMkLst>
      </pc:sldChg>
      <pc:sldChg chg="del">
        <pc:chgData name="Oehrli, Stefan" userId="3f36891e-f853-43e7-bcbc-2879a2513833" providerId="ADAL" clId="{8AF65D7D-52A3-694C-B004-91F835AC7E11}" dt="2023-08-23T09:07:38.831" v="24" actId="2696"/>
        <pc:sldMkLst>
          <pc:docMk/>
          <pc:sldMk cId="3330251415" sldId="2147138170"/>
        </pc:sldMkLst>
      </pc:sldChg>
      <pc:sldChg chg="del">
        <pc:chgData name="Oehrli, Stefan" userId="3f36891e-f853-43e7-bcbc-2879a2513833" providerId="ADAL" clId="{8AF65D7D-52A3-694C-B004-91F835AC7E11}" dt="2023-08-23T09:07:38.834" v="28" actId="2696"/>
        <pc:sldMkLst>
          <pc:docMk/>
          <pc:sldMk cId="417737938" sldId="2147138171"/>
        </pc:sldMkLst>
      </pc:sldChg>
      <pc:sldChg chg="del">
        <pc:chgData name="Oehrli, Stefan" userId="3f36891e-f853-43e7-bcbc-2879a2513833" providerId="ADAL" clId="{8AF65D7D-52A3-694C-B004-91F835AC7E11}" dt="2023-08-23T09:07:38.857" v="30" actId="2696"/>
        <pc:sldMkLst>
          <pc:docMk/>
          <pc:sldMk cId="3109269487" sldId="2147138172"/>
        </pc:sldMkLst>
      </pc:sldChg>
      <pc:sldChg chg="del">
        <pc:chgData name="Oehrli, Stefan" userId="3f36891e-f853-43e7-bcbc-2879a2513833" providerId="ADAL" clId="{8AF65D7D-52A3-694C-B004-91F835AC7E11}" dt="2023-08-23T09:07:38.858" v="32" actId="2696"/>
        <pc:sldMkLst>
          <pc:docMk/>
          <pc:sldMk cId="1225329166" sldId="2147138173"/>
        </pc:sldMkLst>
      </pc:sldChg>
      <pc:sldChg chg="del">
        <pc:chgData name="Oehrli, Stefan" userId="3f36891e-f853-43e7-bcbc-2879a2513833" providerId="ADAL" clId="{8AF65D7D-52A3-694C-B004-91F835AC7E11}" dt="2023-08-23T09:07:38.798" v="1" actId="2696"/>
        <pc:sldMkLst>
          <pc:docMk/>
          <pc:sldMk cId="539099097" sldId="2147138175"/>
        </pc:sldMkLst>
      </pc:sldChg>
      <pc:sldChg chg="del">
        <pc:chgData name="Oehrli, Stefan" userId="3f36891e-f853-43e7-bcbc-2879a2513833" providerId="ADAL" clId="{8AF65D7D-52A3-694C-B004-91F835AC7E11}" dt="2023-08-23T09:07:38.859" v="33" actId="2696"/>
        <pc:sldMkLst>
          <pc:docMk/>
          <pc:sldMk cId="597136198" sldId="2147138176"/>
        </pc:sldMkLst>
      </pc:sldChg>
      <pc:sldChg chg="del">
        <pc:chgData name="Oehrli, Stefan" userId="3f36891e-f853-43e7-bcbc-2879a2513833" providerId="ADAL" clId="{8AF65D7D-52A3-694C-B004-91F835AC7E11}" dt="2023-08-23T09:07:38.864" v="39" actId="2696"/>
        <pc:sldMkLst>
          <pc:docMk/>
          <pc:sldMk cId="943587598" sldId="2147138177"/>
        </pc:sldMkLst>
      </pc:sldChg>
      <pc:sldChg chg="del">
        <pc:chgData name="Oehrli, Stefan" userId="3f36891e-f853-43e7-bcbc-2879a2513833" providerId="ADAL" clId="{8AF65D7D-52A3-694C-B004-91F835AC7E11}" dt="2023-08-23T09:07:38.805" v="6" actId="2696"/>
        <pc:sldMkLst>
          <pc:docMk/>
          <pc:sldMk cId="2845821336" sldId="2147138178"/>
        </pc:sldMkLst>
      </pc:sldChg>
      <pc:sldChg chg="del">
        <pc:chgData name="Oehrli, Stefan" userId="3f36891e-f853-43e7-bcbc-2879a2513833" providerId="ADAL" clId="{8AF65D7D-52A3-694C-B004-91F835AC7E11}" dt="2023-08-23T09:07:38.865" v="41" actId="2696"/>
        <pc:sldMkLst>
          <pc:docMk/>
          <pc:sldMk cId="1578838906" sldId="2147138179"/>
        </pc:sldMkLst>
      </pc:sldChg>
      <pc:sldChg chg="del">
        <pc:chgData name="Oehrli, Stefan" userId="3f36891e-f853-43e7-bcbc-2879a2513833" providerId="ADAL" clId="{8AF65D7D-52A3-694C-B004-91F835AC7E11}" dt="2023-08-23T09:07:38.796" v="0" actId="2696"/>
        <pc:sldMkLst>
          <pc:docMk/>
          <pc:sldMk cId="2267274583" sldId="2147138180"/>
        </pc:sldMkLst>
      </pc:sldChg>
      <pc:sldMasterChg chg="delSldLayout">
        <pc:chgData name="Oehrli, Stefan" userId="3f36891e-f853-43e7-bcbc-2879a2513833" providerId="ADAL" clId="{8AF65D7D-52A3-694C-B004-91F835AC7E11}" dt="2023-08-23T09:07:38.902" v="44" actId="2696"/>
        <pc:sldMasterMkLst>
          <pc:docMk/>
          <pc:sldMasterMk cId="1195103446" sldId="2147483648"/>
        </pc:sldMasterMkLst>
        <pc:sldLayoutChg chg="del">
          <pc:chgData name="Oehrli, Stefan" userId="3f36891e-f853-43e7-bcbc-2879a2513833" providerId="ADAL" clId="{8AF65D7D-52A3-694C-B004-91F835AC7E11}" dt="2023-08-23T09:07:38.902" v="44" actId="2696"/>
          <pc:sldLayoutMkLst>
            <pc:docMk/>
            <pc:sldMasterMk cId="1195103446" sldId="2147483648"/>
            <pc:sldLayoutMk cId="1825463440" sldId="2147483761"/>
          </pc:sldLayoutMkLst>
        </pc:sldLayoutChg>
        <pc:sldLayoutChg chg="del">
          <pc:chgData name="Oehrli, Stefan" userId="3f36891e-f853-43e7-bcbc-2879a2513833" providerId="ADAL" clId="{8AF65D7D-52A3-694C-B004-91F835AC7E11}" dt="2023-08-23T09:07:38.863" v="38" actId="2696"/>
          <pc:sldLayoutMkLst>
            <pc:docMk/>
            <pc:sldMasterMk cId="1195103446" sldId="2147483648"/>
            <pc:sldLayoutMk cId="3972274285" sldId="2147483762"/>
          </pc:sldLayoutMkLst>
        </pc:sldLayoutChg>
      </pc:sldMasterChg>
    </pc:docChg>
  </pc:docChgLst>
  <pc:docChgLst>
    <pc:chgData name="Oehrli, Stefan" userId="3f36891e-f853-43e7-bcbc-2879a2513833" providerId="ADAL" clId="{09BEBDDE-AF5B-9146-8B18-471724E5E3DD}"/>
    <pc:docChg chg="undo custSel addSld delSld modSld sldOrd modSection">
      <pc:chgData name="Oehrli, Stefan" userId="3f36891e-f853-43e7-bcbc-2879a2513833" providerId="ADAL" clId="{09BEBDDE-AF5B-9146-8B18-471724E5E3DD}" dt="2023-11-23T21:01:48.502" v="7106" actId="700"/>
      <pc:docMkLst>
        <pc:docMk/>
      </pc:docMkLst>
      <pc:sldChg chg="modSp mod">
        <pc:chgData name="Oehrli, Stefan" userId="3f36891e-f853-43e7-bcbc-2879a2513833" providerId="ADAL" clId="{09BEBDDE-AF5B-9146-8B18-471724E5E3DD}" dt="2023-11-11T22:47:21.290" v="120"/>
        <pc:sldMkLst>
          <pc:docMk/>
          <pc:sldMk cId="217193527" sldId="308"/>
        </pc:sldMkLst>
        <pc:spChg chg="mod">
          <ac:chgData name="Oehrli, Stefan" userId="3f36891e-f853-43e7-bcbc-2879a2513833" providerId="ADAL" clId="{09BEBDDE-AF5B-9146-8B18-471724E5E3DD}" dt="2023-11-11T22:47:10.658" v="117" actId="20577"/>
          <ac:spMkLst>
            <pc:docMk/>
            <pc:sldMk cId="217193527" sldId="308"/>
            <ac:spMk id="2" creationId="{632E2813-969E-AAAD-3C7C-2C1A14B7363A}"/>
          </ac:spMkLst>
        </pc:spChg>
        <pc:spChg chg="mod">
          <ac:chgData name="Oehrli, Stefan" userId="3f36891e-f853-43e7-bcbc-2879a2513833" providerId="ADAL" clId="{09BEBDDE-AF5B-9146-8B18-471724E5E3DD}" dt="2023-11-11T22:47:04.893" v="109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09BEBDDE-AF5B-9146-8B18-471724E5E3DD}" dt="2023-11-11T22:47:21.290" v="120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09BEBDDE-AF5B-9146-8B18-471724E5E3DD}" dt="2023-11-20T22:17:20.083" v="547" actId="20577"/>
        <pc:sldMkLst>
          <pc:docMk/>
          <pc:sldMk cId="988469291" sldId="332"/>
        </pc:sldMkLst>
        <pc:spChg chg="mod">
          <ac:chgData name="Oehrli, Stefan" userId="3f36891e-f853-43e7-bcbc-2879a2513833" providerId="ADAL" clId="{09BEBDDE-AF5B-9146-8B18-471724E5E3DD}" dt="2023-11-20T22:17:20.083" v="547" actId="20577"/>
          <ac:spMkLst>
            <pc:docMk/>
            <pc:sldMk cId="988469291" sldId="332"/>
            <ac:spMk id="2" creationId="{6B7D050A-F3DB-4B0A-8C3E-8F4D3EE9CC12}"/>
          </ac:spMkLst>
        </pc:spChg>
      </pc:sldChg>
      <pc:sldChg chg="addSp delSp modSp mod">
        <pc:chgData name="Oehrli, Stefan" userId="3f36891e-f853-43e7-bcbc-2879a2513833" providerId="ADAL" clId="{09BEBDDE-AF5B-9146-8B18-471724E5E3DD}" dt="2023-11-20T23:25:53.554" v="1255"/>
        <pc:sldMkLst>
          <pc:docMk/>
          <pc:sldMk cId="3447450657" sldId="344"/>
        </pc:sldMkLst>
        <pc:spChg chg="mod">
          <ac:chgData name="Oehrli, Stefan" userId="3f36891e-f853-43e7-bcbc-2879a2513833" providerId="ADAL" clId="{09BEBDDE-AF5B-9146-8B18-471724E5E3DD}" dt="2023-11-11T22:54:54.268" v="147"/>
          <ac:spMkLst>
            <pc:docMk/>
            <pc:sldMk cId="3447450657" sldId="344"/>
            <ac:spMk id="5" creationId="{4D1089D9-B568-BC09-13D3-75786BE4D9BC}"/>
          </ac:spMkLst>
        </pc:spChg>
        <pc:spChg chg="mod">
          <ac:chgData name="Oehrli, Stefan" userId="3f36891e-f853-43e7-bcbc-2879a2513833" providerId="ADAL" clId="{09BEBDDE-AF5B-9146-8B18-471724E5E3DD}" dt="2023-11-11T22:55:11.873" v="149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09BEBDDE-AF5B-9146-8B18-471724E5E3DD}" dt="2023-11-11T22:55:26.575" v="152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09BEBDDE-AF5B-9146-8B18-471724E5E3DD}" dt="2023-11-11T22:55:35.676" v="154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09BEBDDE-AF5B-9146-8B18-471724E5E3DD}" dt="2023-11-11T22:55:46.755" v="155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09BEBDDE-AF5B-9146-8B18-471724E5E3DD}" dt="2023-11-20T23:25:53.554" v="1255"/>
          <ac:spMkLst>
            <pc:docMk/>
            <pc:sldMk cId="3447450657" sldId="344"/>
            <ac:spMk id="10" creationId="{2510B16E-5797-8D5D-1A8B-7AEBFCCACEC2}"/>
          </ac:spMkLst>
        </pc:spChg>
        <pc:spChg chg="add del">
          <ac:chgData name="Oehrli, Stefan" userId="3f36891e-f853-43e7-bcbc-2879a2513833" providerId="ADAL" clId="{09BEBDDE-AF5B-9146-8B18-471724E5E3DD}" dt="2023-11-11T22:57:51.144" v="161" actId="22"/>
          <ac:spMkLst>
            <pc:docMk/>
            <pc:sldMk cId="3447450657" sldId="344"/>
            <ac:spMk id="39" creationId="{157C21D1-6702-C755-04F4-116C30EAE27F}"/>
          </ac:spMkLst>
        </pc:spChg>
      </pc:sldChg>
      <pc:sldChg chg="modSp del mod">
        <pc:chgData name="Oehrli, Stefan" userId="3f36891e-f853-43e7-bcbc-2879a2513833" providerId="ADAL" clId="{09BEBDDE-AF5B-9146-8B18-471724E5E3DD}" dt="2023-11-20T23:25:49.326" v="1254" actId="2696"/>
        <pc:sldMkLst>
          <pc:docMk/>
          <pc:sldMk cId="1089911166" sldId="460"/>
        </pc:sldMkLst>
        <pc:picChg chg="mod">
          <ac:chgData name="Oehrli, Stefan" userId="3f36891e-f853-43e7-bcbc-2879a2513833" providerId="ADAL" clId="{09BEBDDE-AF5B-9146-8B18-471724E5E3DD}" dt="2023-11-11T22:48:53.382" v="122" actId="1076"/>
          <ac:picMkLst>
            <pc:docMk/>
            <pc:sldMk cId="1089911166" sldId="460"/>
            <ac:picMk id="20" creationId="{F9A27A75-13C8-8DF7-897B-0C1C1AE44858}"/>
          </ac:picMkLst>
        </pc:picChg>
      </pc:sldChg>
      <pc:sldChg chg="modSp mod">
        <pc:chgData name="Oehrli, Stefan" userId="3f36891e-f853-43e7-bcbc-2879a2513833" providerId="ADAL" clId="{09BEBDDE-AF5B-9146-8B18-471724E5E3DD}" dt="2023-11-20T21:55:58.379" v="310"/>
        <pc:sldMkLst>
          <pc:docMk/>
          <pc:sldMk cId="809413988" sldId="461"/>
        </pc:sldMkLst>
        <pc:spChg chg="mod">
          <ac:chgData name="Oehrli, Stefan" userId="3f36891e-f853-43e7-bcbc-2879a2513833" providerId="ADAL" clId="{09BEBDDE-AF5B-9146-8B18-471724E5E3DD}" dt="2023-11-20T21:55:58.379" v="310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09BEBDDE-AF5B-9146-8B18-471724E5E3DD}" dt="2023-11-20T22:11:06.217" v="525"/>
        <pc:sldMkLst>
          <pc:docMk/>
          <pc:sldMk cId="1153880397" sldId="470"/>
        </pc:sldMkLst>
        <pc:spChg chg="mod">
          <ac:chgData name="Oehrli, Stefan" userId="3f36891e-f853-43e7-bcbc-2879a2513833" providerId="ADAL" clId="{09BEBDDE-AF5B-9146-8B18-471724E5E3DD}" dt="2023-11-20T22:09:58.414" v="518" actId="94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09BEBDDE-AF5B-9146-8B18-471724E5E3DD}" dt="2023-11-11T16:44:36.538" v="2"/>
          <ac:spMkLst>
            <pc:docMk/>
            <pc:sldMk cId="1153880397" sldId="470"/>
            <ac:spMk id="13" creationId="{9EEEFBE2-D58B-0304-1EEF-C6A93EAE2FDB}"/>
          </ac:spMkLst>
        </pc:spChg>
        <pc:picChg chg="mod">
          <ac:chgData name="Oehrli, Stefan" userId="3f36891e-f853-43e7-bcbc-2879a2513833" providerId="ADAL" clId="{09BEBDDE-AF5B-9146-8B18-471724E5E3DD}" dt="2023-11-20T22:10:47.558" v="524" actId="14100"/>
          <ac:picMkLst>
            <pc:docMk/>
            <pc:sldMk cId="1153880397" sldId="470"/>
            <ac:picMk id="9" creationId="{A61FEC2F-D7C6-91D8-7B41-414E7F4BD194}"/>
          </ac:picMkLst>
        </pc:picChg>
      </pc:sldChg>
      <pc:sldChg chg="modSp add del mod">
        <pc:chgData name="Oehrli, Stefan" userId="3f36891e-f853-43e7-bcbc-2879a2513833" providerId="ADAL" clId="{09BEBDDE-AF5B-9146-8B18-471724E5E3DD}" dt="2023-11-21T07:21:52.827" v="4202" actId="2696"/>
        <pc:sldMkLst>
          <pc:docMk/>
          <pc:sldMk cId="4239886515" sldId="480"/>
        </pc:sldMkLst>
        <pc:spChg chg="mod">
          <ac:chgData name="Oehrli, Stefan" userId="3f36891e-f853-43e7-bcbc-2879a2513833" providerId="ADAL" clId="{09BEBDDE-AF5B-9146-8B18-471724E5E3DD}" dt="2023-11-20T22:11:39.205" v="529" actId="20577"/>
          <ac:spMkLst>
            <pc:docMk/>
            <pc:sldMk cId="4239886515" sldId="480"/>
            <ac:spMk id="4" creationId="{F4D16C22-C1BC-AD85-0A01-6D918C31FBC0}"/>
          </ac:spMkLst>
        </pc:spChg>
      </pc:sldChg>
      <pc:sldChg chg="modSp add mod">
        <pc:chgData name="Oehrli, Stefan" userId="3f36891e-f853-43e7-bcbc-2879a2513833" providerId="ADAL" clId="{09BEBDDE-AF5B-9146-8B18-471724E5E3DD}" dt="2023-11-11T22:51:42.321" v="136" actId="18131"/>
        <pc:sldMkLst>
          <pc:docMk/>
          <pc:sldMk cId="2241462360" sldId="2147138091"/>
        </pc:sldMkLst>
        <pc:picChg chg="mod modCrop">
          <ac:chgData name="Oehrli, Stefan" userId="3f36891e-f853-43e7-bcbc-2879a2513833" providerId="ADAL" clId="{09BEBDDE-AF5B-9146-8B18-471724E5E3DD}" dt="2023-11-11T22:51:42.321" v="136" actId="18131"/>
          <ac:picMkLst>
            <pc:docMk/>
            <pc:sldMk cId="2241462360" sldId="2147138091"/>
            <ac:picMk id="20" creationId="{F9A27A75-13C8-8DF7-897B-0C1C1AE44858}"/>
          </ac:picMkLst>
        </pc:picChg>
      </pc:sldChg>
      <pc:sldChg chg="modSp add del mod">
        <pc:chgData name="Oehrli, Stefan" userId="3f36891e-f853-43e7-bcbc-2879a2513833" providerId="ADAL" clId="{09BEBDDE-AF5B-9146-8B18-471724E5E3DD}" dt="2023-11-20T23:25:47.572" v="1253" actId="2696"/>
        <pc:sldMkLst>
          <pc:docMk/>
          <pc:sldMk cId="2287636559" sldId="2147138092"/>
        </pc:sldMkLst>
        <pc:picChg chg="mod modCrop">
          <ac:chgData name="Oehrli, Stefan" userId="3f36891e-f853-43e7-bcbc-2879a2513833" providerId="ADAL" clId="{09BEBDDE-AF5B-9146-8B18-471724E5E3DD}" dt="2023-11-11T22:59:41.363" v="169" actId="18131"/>
          <ac:picMkLst>
            <pc:docMk/>
            <pc:sldMk cId="2287636559" sldId="2147138092"/>
            <ac:picMk id="20" creationId="{F9A27A75-13C8-8DF7-897B-0C1C1AE44858}"/>
          </ac:picMkLst>
        </pc:picChg>
      </pc:sldChg>
      <pc:sldChg chg="addSp delSp modSp new mod modAnim chgLayout">
        <pc:chgData name="Oehrli, Stefan" userId="3f36891e-f853-43e7-bcbc-2879a2513833" providerId="ADAL" clId="{09BEBDDE-AF5B-9146-8B18-471724E5E3DD}" dt="2023-11-21T10:27:32.592" v="7080"/>
        <pc:sldMkLst>
          <pc:docMk/>
          <pc:sldMk cId="1940722524" sldId="2147138093"/>
        </pc:sldMkLst>
        <pc:spChg chg="del mod ord">
          <ac:chgData name="Oehrli, Stefan" userId="3f36891e-f853-43e7-bcbc-2879a2513833" providerId="ADAL" clId="{09BEBDDE-AF5B-9146-8B18-471724E5E3DD}" dt="2023-11-20T11:18:10.667" v="171" actId="700"/>
          <ac:spMkLst>
            <pc:docMk/>
            <pc:sldMk cId="1940722524" sldId="2147138093"/>
            <ac:spMk id="2" creationId="{06E1057A-E14B-06A2-2DC5-4C99D2166FFD}"/>
          </ac:spMkLst>
        </pc:spChg>
        <pc:spChg chg="add mod ord">
          <ac:chgData name="Oehrli, Stefan" userId="3f36891e-f853-43e7-bcbc-2879a2513833" providerId="ADAL" clId="{09BEBDDE-AF5B-9146-8B18-471724E5E3DD}" dt="2023-11-21T10:18:50.663" v="6880"/>
          <ac:spMkLst>
            <pc:docMk/>
            <pc:sldMk cId="1940722524" sldId="2147138093"/>
            <ac:spMk id="3" creationId="{2896F9B9-7557-8356-E91D-65337D7EEC8C}"/>
          </ac:spMkLst>
        </pc:spChg>
        <pc:spChg chg="add mod ord">
          <ac:chgData name="Oehrli, Stefan" userId="3f36891e-f853-43e7-bcbc-2879a2513833" providerId="ADAL" clId="{09BEBDDE-AF5B-9146-8B18-471724E5E3DD}" dt="2023-11-21T10:27:13.613" v="7077" actId="113"/>
          <ac:spMkLst>
            <pc:docMk/>
            <pc:sldMk cId="1940722524" sldId="2147138093"/>
            <ac:spMk id="4" creationId="{698A75A3-F15B-FBF6-3BA2-AA1CAFD139F5}"/>
          </ac:spMkLst>
        </pc:spChg>
        <pc:spChg chg="add mod ord">
          <ac:chgData name="Oehrli, Stefan" userId="3f36891e-f853-43e7-bcbc-2879a2513833" providerId="ADAL" clId="{09BEBDDE-AF5B-9146-8B18-471724E5E3DD}" dt="2023-11-21T10:19:27.767" v="6903" actId="5793"/>
          <ac:spMkLst>
            <pc:docMk/>
            <pc:sldMk cId="1940722524" sldId="2147138093"/>
            <ac:spMk id="5" creationId="{B9E8DA0E-446D-8305-58A2-9E0B0033D674}"/>
          </ac:spMkLst>
        </pc:spChg>
      </pc:sldChg>
      <pc:sldChg chg="addSp delSp modSp new del mod chgLayout">
        <pc:chgData name="Oehrli, Stefan" userId="3f36891e-f853-43e7-bcbc-2879a2513833" providerId="ADAL" clId="{09BEBDDE-AF5B-9146-8B18-471724E5E3DD}" dt="2023-11-21T05:26:30.321" v="2573" actId="2696"/>
        <pc:sldMkLst>
          <pc:docMk/>
          <pc:sldMk cId="2448084781" sldId="2147138094"/>
        </pc:sldMkLst>
        <pc:spChg chg="del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2" creationId="{577197AB-FB88-BCC3-28CF-2CC3214C3BE1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3" creationId="{CEAFCAE0-F842-34F2-EB92-1D60C03884E7}"/>
          </ac:spMkLst>
        </pc:spChg>
        <pc:spChg chg="add mod ord">
          <ac:chgData name="Oehrli, Stefan" userId="3f36891e-f853-43e7-bcbc-2879a2513833" providerId="ADAL" clId="{09BEBDDE-AF5B-9146-8B18-471724E5E3DD}" dt="2023-11-20T11:24:27.850" v="174"/>
          <ac:spMkLst>
            <pc:docMk/>
            <pc:sldMk cId="2448084781" sldId="2147138094"/>
            <ac:spMk id="4" creationId="{946CA6F4-9448-6AD4-6D2E-3FBD4BF7C6FB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5" creationId="{9784D766-D1AA-1F79-C449-899A26544C05}"/>
          </ac:spMkLst>
        </pc:spChg>
      </pc:sldChg>
      <pc:sldChg chg="addSp modSp add mod ord modClrScheme chgLayout">
        <pc:chgData name="Oehrli, Stefan" userId="3f36891e-f853-43e7-bcbc-2879a2513833" providerId="ADAL" clId="{09BEBDDE-AF5B-9146-8B18-471724E5E3DD}" dt="2023-11-21T10:33:23.826" v="7098" actId="14100"/>
        <pc:sldMkLst>
          <pc:docMk/>
          <pc:sldMk cId="2229416787" sldId="2147138095"/>
        </pc:sldMkLst>
        <pc:spChg chg="add mod ord">
          <ac:chgData name="Oehrli, Stefan" userId="3f36891e-f853-43e7-bcbc-2879a2513833" providerId="ADAL" clId="{09BEBDDE-AF5B-9146-8B18-471724E5E3DD}" dt="2023-11-21T06:59:02.188" v="3896" actId="14100"/>
          <ac:spMkLst>
            <pc:docMk/>
            <pc:sldMk cId="2229416787" sldId="2147138095"/>
            <ac:spMk id="2" creationId="{FB74AED1-4003-E9C6-8D3B-2D77752399C3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33:23.826" v="7098" actId="14100"/>
          <ac:spMkLst>
            <pc:docMk/>
            <pc:sldMk cId="2229416787" sldId="2147138095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5" creationId="{9784D766-D1AA-1F79-C449-899A26544C0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10:18:21.022" v="6869"/>
        <pc:sldMkLst>
          <pc:docMk/>
          <pc:sldMk cId="3058612435" sldId="2147138096"/>
        </pc:sldMkLst>
        <pc:spChg chg="add mod ord">
          <ac:chgData name="Oehrli, Stefan" userId="3f36891e-f853-43e7-bcbc-2879a2513833" providerId="ADAL" clId="{09BEBDDE-AF5B-9146-8B18-471724E5E3DD}" dt="2023-11-21T10:15:20.573" v="6795" actId="20577"/>
          <ac:spMkLst>
            <pc:docMk/>
            <pc:sldMk cId="3058612435" sldId="2147138096"/>
            <ac:spMk id="2" creationId="{08333D85-B01D-BAAB-A450-15576A159BC7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17:59.460" v="6865" actId="14100"/>
          <ac:spMkLst>
            <pc:docMk/>
            <pc:sldMk cId="3058612435" sldId="2147138096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5" creationId="{9784D766-D1AA-1F79-C449-899A26544C05}"/>
          </ac:spMkLst>
        </pc:spChg>
      </pc:sldChg>
      <pc:sldChg chg="addSp delSp modSp add mod ord modClrScheme modAnim chgLayout">
        <pc:chgData name="Oehrli, Stefan" userId="3f36891e-f853-43e7-bcbc-2879a2513833" providerId="ADAL" clId="{09BEBDDE-AF5B-9146-8B18-471724E5E3DD}" dt="2023-11-21T08:33:35.380" v="4718" actId="20577"/>
        <pc:sldMkLst>
          <pc:docMk/>
          <pc:sldMk cId="379875072" sldId="2147138097"/>
        </pc:sldMkLst>
        <pc:spChg chg="add mod ord">
          <ac:chgData name="Oehrli, Stefan" userId="3f36891e-f853-43e7-bcbc-2879a2513833" providerId="ADAL" clId="{09BEBDDE-AF5B-9146-8B18-471724E5E3DD}" dt="2023-11-21T07:52:23.575" v="4506" actId="5793"/>
          <ac:spMkLst>
            <pc:docMk/>
            <pc:sldMk cId="379875072" sldId="2147138097"/>
            <ac:spMk id="2" creationId="{D66543F3-1597-EDB1-C2E4-7B045DFC583D}"/>
          </ac:spMkLst>
        </pc:spChg>
        <pc:spChg chg="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7:53:01.932" v="4560" actId="14100"/>
          <ac:spMkLst>
            <pc:docMk/>
            <pc:sldMk cId="379875072" sldId="2147138097"/>
            <ac:spMk id="4" creationId="{946CA6F4-9448-6AD4-6D2E-3FBD4BF7C6FB}"/>
          </ac:spMkLst>
        </pc:spChg>
        <pc:spChg chg="del 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5" creationId="{9784D766-D1AA-1F79-C449-899A26544C05}"/>
          </ac:spMkLst>
        </pc:spChg>
        <pc:spChg chg="add mod ord">
          <ac:chgData name="Oehrli, Stefan" userId="3f36891e-f853-43e7-bcbc-2879a2513833" providerId="ADAL" clId="{09BEBDDE-AF5B-9146-8B18-471724E5E3DD}" dt="2023-11-21T07:54:24.809" v="4572" actId="113"/>
          <ac:spMkLst>
            <pc:docMk/>
            <pc:sldMk cId="379875072" sldId="2147138097"/>
            <ac:spMk id="6" creationId="{DA7E0BEC-6699-E0C2-0132-2E94D6F271B0}"/>
          </ac:spMkLst>
        </pc:spChg>
        <pc:spChg chg="add mod">
          <ac:chgData name="Oehrli, Stefan" userId="3f36891e-f853-43e7-bcbc-2879a2513833" providerId="ADAL" clId="{09BEBDDE-AF5B-9146-8B18-471724E5E3DD}" dt="2023-11-21T08:33:35.380" v="4718" actId="20577"/>
          <ac:spMkLst>
            <pc:docMk/>
            <pc:sldMk cId="379875072" sldId="2147138097"/>
            <ac:spMk id="7" creationId="{009A78AF-0E02-423D-A0B5-10A84699916F}"/>
          </ac:spMkLst>
        </pc:spChg>
      </pc:sldChg>
      <pc:sldChg chg="addSp modSp add mod ord modAnim modNotesTx">
        <pc:chgData name="Oehrli, Stefan" userId="3f36891e-f853-43e7-bcbc-2879a2513833" providerId="ADAL" clId="{09BEBDDE-AF5B-9146-8B18-471724E5E3DD}" dt="2023-11-21T08:57:27.436" v="5340" actId="14100"/>
        <pc:sldMkLst>
          <pc:docMk/>
          <pc:sldMk cId="3474791128" sldId="2147138098"/>
        </pc:sldMkLst>
        <pc:spChg chg="mod">
          <ac:chgData name="Oehrli, Stefan" userId="3f36891e-f853-43e7-bcbc-2879a2513833" providerId="ADAL" clId="{09BEBDDE-AF5B-9146-8B18-471724E5E3DD}" dt="2023-11-21T08:42:36.582" v="4962" actId="20577"/>
          <ac:spMkLst>
            <pc:docMk/>
            <pc:sldMk cId="3474791128" sldId="2147138098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8:56:31.560" v="5326" actId="5793"/>
          <ac:spMkLst>
            <pc:docMk/>
            <pc:sldMk cId="3474791128" sldId="2147138098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8:43:59.571" v="4994"/>
          <ac:spMkLst>
            <pc:docMk/>
            <pc:sldMk cId="3474791128" sldId="2147138098"/>
            <ac:spMk id="5" creationId="{9784D766-D1AA-1F79-C449-899A26544C05}"/>
          </ac:spMkLst>
        </pc:spChg>
        <pc:picChg chg="add mod">
          <ac:chgData name="Oehrli, Stefan" userId="3f36891e-f853-43e7-bcbc-2879a2513833" providerId="ADAL" clId="{09BEBDDE-AF5B-9146-8B18-471724E5E3DD}" dt="2023-11-21T08:57:27.436" v="5340" actId="14100"/>
          <ac:picMkLst>
            <pc:docMk/>
            <pc:sldMk cId="3474791128" sldId="2147138098"/>
            <ac:picMk id="2" creationId="{C9255526-B010-A4D9-BA1F-1F6E2E401430}"/>
          </ac:picMkLst>
        </pc:picChg>
      </pc:sldChg>
      <pc:sldChg chg="modSp new del mod">
        <pc:chgData name="Oehrli, Stefan" userId="3f36891e-f853-43e7-bcbc-2879a2513833" providerId="ADAL" clId="{09BEBDDE-AF5B-9146-8B18-471724E5E3DD}" dt="2023-11-21T10:21:13.747" v="6906" actId="2696"/>
        <pc:sldMkLst>
          <pc:docMk/>
          <pc:sldMk cId="3985428786" sldId="2147138099"/>
        </pc:sldMkLst>
        <pc:spChg chg="mod">
          <ac:chgData name="Oehrli, Stefan" userId="3f36891e-f853-43e7-bcbc-2879a2513833" providerId="ADAL" clId="{09BEBDDE-AF5B-9146-8B18-471724E5E3DD}" dt="2023-11-21T10:21:12.405" v="6905" actId="21"/>
          <ac:spMkLst>
            <pc:docMk/>
            <pc:sldMk cId="3985428786" sldId="2147138099"/>
            <ac:spMk id="3" creationId="{BE93259D-2817-6205-1BBB-8832D4F9943A}"/>
          </ac:spMkLst>
        </pc:spChg>
      </pc:sldChg>
      <pc:sldChg chg="addSp delSp modSp new mod modAnim chgLayout">
        <pc:chgData name="Oehrli, Stefan" userId="3f36891e-f853-43e7-bcbc-2879a2513833" providerId="ADAL" clId="{09BEBDDE-AF5B-9146-8B18-471724E5E3DD}" dt="2023-11-20T21:29:34.645" v="267"/>
        <pc:sldMkLst>
          <pc:docMk/>
          <pc:sldMk cId="3843352936" sldId="2147138100"/>
        </pc:sldMkLst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2" creationId="{397D16A4-1BF4-0CF3-F636-326291B20C5A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3" creationId="{EF12B41E-E3B3-6E3E-DD35-9F05BEE497F8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4" creationId="{053F0230-0127-6B77-0399-01FBF958BD7E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5" creationId="{A9039FAF-E31B-478F-BB0D-D09170DECFD8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6" creationId="{E379787E-358B-DA30-D858-5D0E0223AA30}"/>
          </ac:spMkLst>
        </pc:spChg>
        <pc:spChg chg="add mod ord">
          <ac:chgData name="Oehrli, Stefan" userId="3f36891e-f853-43e7-bcbc-2879a2513833" providerId="ADAL" clId="{09BEBDDE-AF5B-9146-8B18-471724E5E3DD}" dt="2023-11-20T21:24:57.916" v="250" actId="20577"/>
          <ac:spMkLst>
            <pc:docMk/>
            <pc:sldMk cId="3843352936" sldId="2147138100"/>
            <ac:spMk id="7" creationId="{CAFE7976-17D6-692E-D734-F2D286653FAC}"/>
          </ac:spMkLst>
        </pc:spChg>
        <pc:spChg chg="add del mod ord">
          <ac:chgData name="Oehrli, Stefan" userId="3f36891e-f853-43e7-bcbc-2879a2513833" providerId="ADAL" clId="{09BEBDDE-AF5B-9146-8B18-471724E5E3DD}" dt="2023-11-20T21:23:41.429" v="193"/>
          <ac:spMkLst>
            <pc:docMk/>
            <pc:sldMk cId="3843352936" sldId="2147138100"/>
            <ac:spMk id="8" creationId="{C0B98C9F-4EA5-B8A9-70CD-7C9CA01E697B}"/>
          </ac:spMkLst>
        </pc:spChg>
        <pc:spChg chg="add mod ord">
          <ac:chgData name="Oehrli, Stefan" userId="3f36891e-f853-43e7-bcbc-2879a2513833" providerId="ADAL" clId="{09BEBDDE-AF5B-9146-8B18-471724E5E3DD}" dt="2023-11-20T21:29:34.645" v="267"/>
          <ac:spMkLst>
            <pc:docMk/>
            <pc:sldMk cId="3843352936" sldId="2147138100"/>
            <ac:spMk id="9" creationId="{6865BB4D-871D-6C55-5CA1-11DC3FDC1291}"/>
          </ac:spMkLst>
        </pc:spChg>
        <pc:picChg chg="add mod">
          <ac:chgData name="Oehrli, Stefan" userId="3f36891e-f853-43e7-bcbc-2879a2513833" providerId="ADAL" clId="{09BEBDDE-AF5B-9146-8B18-471724E5E3DD}" dt="2023-11-20T21:23:47.522" v="194" actId="14100"/>
          <ac:picMkLst>
            <pc:docMk/>
            <pc:sldMk cId="3843352936" sldId="2147138100"/>
            <ac:picMk id="10" creationId="{ED412094-1908-3F9A-F9B9-E2C15AC731C5}"/>
          </ac:picMkLst>
        </pc:picChg>
        <pc:picChg chg="add mod">
          <ac:chgData name="Oehrli, Stefan" userId="3f36891e-f853-43e7-bcbc-2879a2513833" providerId="ADAL" clId="{09BEBDDE-AF5B-9146-8B18-471724E5E3DD}" dt="2023-11-20T21:29:13.393" v="266" actId="1076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0T22:18:14.545" v="558" actId="1076"/>
        <pc:sldMkLst>
          <pc:docMk/>
          <pc:sldMk cId="288964143" sldId="2147138101"/>
        </pc:sldMkLst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2" creationId="{9DC40D08-D85E-B63B-B435-B69A552BC031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3" creationId="{6B7D7EB9-D880-4170-A741-035DEC78D996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4" creationId="{891B061F-EA83-5D67-CAB3-ED4CAA5C7E61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5" creationId="{FBED16AA-2BD8-4FE4-9CF4-A325892E16C4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6" creationId="{25230E4C-E435-B20C-44B4-3C65D4FF6B0D}"/>
          </ac:spMkLst>
        </pc:spChg>
        <pc:spChg chg="add mod ord">
          <ac:chgData name="Oehrli, Stefan" userId="3f36891e-f853-43e7-bcbc-2879a2513833" providerId="ADAL" clId="{09BEBDDE-AF5B-9146-8B18-471724E5E3DD}" dt="2023-11-20T21:56:21.776" v="324" actId="20577"/>
          <ac:spMkLst>
            <pc:docMk/>
            <pc:sldMk cId="288964143" sldId="2147138101"/>
            <ac:spMk id="7" creationId="{28248BDE-A26B-54FA-B253-9CF5A732A84D}"/>
          </ac:spMkLst>
        </pc:spChg>
        <pc:spChg chg="add mod ord">
          <ac:chgData name="Oehrli, Stefan" userId="3f36891e-f853-43e7-bcbc-2879a2513833" providerId="ADAL" clId="{09BEBDDE-AF5B-9146-8B18-471724E5E3DD}" dt="2023-11-20T22:03:27.120" v="474" actId="1076"/>
          <ac:spMkLst>
            <pc:docMk/>
            <pc:sldMk cId="288964143" sldId="2147138101"/>
            <ac:spMk id="8" creationId="{5EE79F3A-A0A9-701D-5D8B-7F8B130B5732}"/>
          </ac:spMkLst>
        </pc:spChg>
        <pc:spChg chg="add mod ord">
          <ac:chgData name="Oehrli, Stefan" userId="3f36891e-f853-43e7-bcbc-2879a2513833" providerId="ADAL" clId="{09BEBDDE-AF5B-9146-8B18-471724E5E3DD}" dt="2023-11-20T21:52:07.026" v="280" actId="20577"/>
          <ac:spMkLst>
            <pc:docMk/>
            <pc:sldMk cId="288964143" sldId="2147138101"/>
            <ac:spMk id="9" creationId="{8E05A5F2-330F-6A6B-804D-BBD24C560B2E}"/>
          </ac:spMkLst>
        </pc:spChg>
        <pc:spChg chg="add del mod ord">
          <ac:chgData name="Oehrli, Stefan" userId="3f36891e-f853-43e7-bcbc-2879a2513833" providerId="ADAL" clId="{09BEBDDE-AF5B-9146-8B18-471724E5E3DD}" dt="2023-11-20T21:36:50.480" v="272"/>
          <ac:spMkLst>
            <pc:docMk/>
            <pc:sldMk cId="288964143" sldId="2147138101"/>
            <ac:spMk id="10" creationId="{17AAD477-8E4D-36F4-5779-95BB52FD66AA}"/>
          </ac:spMkLst>
        </pc:spChg>
        <pc:picChg chg="add mod">
          <ac:chgData name="Oehrli, Stefan" userId="3f36891e-f853-43e7-bcbc-2879a2513833" providerId="ADAL" clId="{09BEBDDE-AF5B-9146-8B18-471724E5E3DD}" dt="2023-11-20T22:18:14.545" v="558" actId="1076"/>
          <ac:picMkLst>
            <pc:docMk/>
            <pc:sldMk cId="288964143" sldId="2147138101"/>
            <ac:picMk id="1026" creationId="{09E4F1EC-4904-591E-3466-0DD9F42C0E18}"/>
          </ac:picMkLst>
        </pc:picChg>
      </pc:sldChg>
      <pc:sldChg chg="addSp delSp modSp new mod ord modClrScheme chgLayout">
        <pc:chgData name="Oehrli, Stefan" userId="3f36891e-f853-43e7-bcbc-2879a2513833" providerId="ADAL" clId="{09BEBDDE-AF5B-9146-8B18-471724E5E3DD}" dt="2023-11-21T08:41:22.009" v="4920" actId="790"/>
        <pc:sldMkLst>
          <pc:docMk/>
          <pc:sldMk cId="3530393607" sldId="2147138102"/>
        </pc:sldMkLst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" creationId="{B725A59C-5EE5-EED2-C30F-C86F8DB4DEFA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" creationId="{221C840E-3ED2-EE86-DB00-CF6B1A3D9F55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4" creationId="{81D0726C-02D5-49D0-F1A1-A397D0CE44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5" creationId="{65D4C040-3AA8-2192-5BF9-00F7E61B9609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6" creationId="{3F464746-DC42-175B-A796-BB8D9AA17F9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7" creationId="{2D5893CE-CD9F-8C63-94C7-C8D0318C52D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8" creationId="{6DE532B2-A280-2A0A-B792-62FAD594DC0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9" creationId="{C090F2D2-2A69-D450-D37E-96483989A66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0" creationId="{81A66C25-67D2-6CEE-C540-A29D79E0BE1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1" creationId="{702A5669-03B6-0CA8-D041-5C59DB41C15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2" creationId="{84CACA44-7A82-F25D-2544-144007395B9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3" creationId="{FCD7DCFA-7D39-A8CE-A46E-14E2D4B699F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4" creationId="{A4D96B0A-0BBA-9C42-4D49-9586FC5A5D7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5" creationId="{0E2B5E38-E1CA-C183-C6CE-C8F49FEA004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6" creationId="{E90447D0-CF44-189E-2E83-9ED26381EF2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7" creationId="{58D8813E-8E72-D79C-3ADB-E27A9FC463F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8" creationId="{04947D4F-D9F8-2533-7210-C1834D37D2D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9" creationId="{F5A74507-E9CC-6154-653C-31DB44D6DDA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0" creationId="{F433989C-1CDA-B854-EC03-8568CCCF80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1" creationId="{D217B024-8D71-1D08-8F4D-55E7EB4AE78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2" creationId="{A27DB1EB-94BC-8E2F-8F80-E53AE59006A6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3" creationId="{7C2F61FA-9C8B-A482-C67F-481598C45CD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4" creationId="{04885FDB-9107-1F76-BE7E-B385C42C981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5" creationId="{0E32CAC0-2206-25E5-767F-E42FFC90440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6" creationId="{AF535127-0360-755E-DDA4-9438C81AF1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7" creationId="{219AC70D-D840-128F-EFED-6DDE0A82F3F0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8" creationId="{061100A9-903F-10B6-9922-8B21FF613CA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9" creationId="{95065D16-CCD5-D1BF-2F08-6F2C14C046D7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0" creationId="{2B22EABC-C222-B6A8-92A6-9794D27E82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1" creationId="{CA23ADD6-869E-71EF-70A1-FDCD5824445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2" creationId="{A9FCC6BF-3954-A81D-A4E2-2B2B0653CF2B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3" creationId="{1ECA9F6B-D54C-0FFC-C4B3-14171FDD470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4" creationId="{49437AE3-1F54-81D7-58F4-F92F56BBD26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5" creationId="{97B8ED26-8E19-A40E-408D-74F3B9B229E1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6" creationId="{B356ACC4-B1A4-2B3D-AE38-8C211E141379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7" creationId="{CF9ECD87-6D39-64D5-ABAF-1407F6605633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8" creationId="{1C7172E5-703F-CEF5-2B4D-DE80091CCEF2}"/>
          </ac:spMkLst>
        </pc:spChg>
        <pc:spChg chg="add mod ord">
          <ac:chgData name="Oehrli, Stefan" userId="3f36891e-f853-43e7-bcbc-2879a2513833" providerId="ADAL" clId="{09BEBDDE-AF5B-9146-8B18-471724E5E3DD}" dt="2023-11-21T08:37:25.656" v="4809" actId="14100"/>
          <ac:spMkLst>
            <pc:docMk/>
            <pc:sldMk cId="3530393607" sldId="2147138102"/>
            <ac:spMk id="39" creationId="{04CDB3C4-2895-1BFF-7736-2228CAF73C42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40" creationId="{AB692460-2053-132D-1E2B-D2FCE06BA224}"/>
          </ac:spMkLst>
        </pc:spChg>
        <pc:spChg chg="add mod ord">
          <ac:chgData name="Oehrli, Stefan" userId="3f36891e-f853-43e7-bcbc-2879a2513833" providerId="ADAL" clId="{09BEBDDE-AF5B-9146-8B18-471724E5E3DD}" dt="2023-11-21T08:40:34.771" v="4868" actId="1035"/>
          <ac:spMkLst>
            <pc:docMk/>
            <pc:sldMk cId="3530393607" sldId="2147138102"/>
            <ac:spMk id="41" creationId="{1D43990D-6B4D-889F-9B90-7852483CF0A6}"/>
          </ac:spMkLst>
        </pc:spChg>
        <pc:spChg chg="add mod ord">
          <ac:chgData name="Oehrli, Stefan" userId="3f36891e-f853-43e7-bcbc-2879a2513833" providerId="ADAL" clId="{09BEBDDE-AF5B-9146-8B18-471724E5E3DD}" dt="2023-11-21T08:40:31.173" v="4862" actId="14100"/>
          <ac:spMkLst>
            <pc:docMk/>
            <pc:sldMk cId="3530393607" sldId="2147138102"/>
            <ac:spMk id="42" creationId="{45A0FC11-71C4-D284-6D87-D048A40EC049}"/>
          </ac:spMkLst>
        </pc:spChg>
        <pc:spChg chg="add mod ord">
          <ac:chgData name="Oehrli, Stefan" userId="3f36891e-f853-43e7-bcbc-2879a2513833" providerId="ADAL" clId="{09BEBDDE-AF5B-9146-8B18-471724E5E3DD}" dt="2023-11-21T08:40:39.817" v="4870" actId="1076"/>
          <ac:spMkLst>
            <pc:docMk/>
            <pc:sldMk cId="3530393607" sldId="2147138102"/>
            <ac:spMk id="43" creationId="{19BF6C6C-D67B-F0A3-2DF9-18B9A00590AB}"/>
          </ac:spMkLst>
        </pc:spChg>
        <pc:spChg chg="add mod">
          <ac:chgData name="Oehrli, Stefan" userId="3f36891e-f853-43e7-bcbc-2879a2513833" providerId="ADAL" clId="{09BEBDDE-AF5B-9146-8B18-471724E5E3DD}" dt="2023-11-21T08:41:22.009" v="4920" actId="790"/>
          <ac:spMkLst>
            <pc:docMk/>
            <pc:sldMk cId="3530393607" sldId="2147138102"/>
            <ac:spMk id="44" creationId="{DB9DCE41-AC99-767A-F95B-444A1DD64DB7}"/>
          </ac:spMkLst>
        </pc:spChg>
      </pc:sldChg>
      <pc:sldChg chg="addSp delSp modSp new del mod ord modClrScheme chgLayout modNotesTx">
        <pc:chgData name="Oehrli, Stefan" userId="3f36891e-f853-43e7-bcbc-2879a2513833" providerId="ADAL" clId="{09BEBDDE-AF5B-9146-8B18-471724E5E3DD}" dt="2023-11-21T04:02:10.581" v="1704" actId="2696"/>
        <pc:sldMkLst>
          <pc:docMk/>
          <pc:sldMk cId="1694193373" sldId="2147138103"/>
        </pc:sldMkLst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2" creationId="{14A6295E-93A9-420C-462E-F1EA02FC93FD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3" creationId="{33291B38-1FBA-0370-6ECA-53704BF339D7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4" creationId="{BD156B50-A534-0885-2EA8-5ECFE02C5B95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5" creationId="{1B0184CC-8A21-794A-68F5-5AB27FE2553B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6" creationId="{266D2535-0BAA-2EB9-016E-490ED699618C}"/>
          </ac:spMkLst>
        </pc:spChg>
        <pc:spChg chg="add mod ord">
          <ac:chgData name="Oehrli, Stefan" userId="3f36891e-f853-43e7-bcbc-2879a2513833" providerId="ADAL" clId="{09BEBDDE-AF5B-9146-8B18-471724E5E3DD}" dt="2023-11-20T22:57:52.840" v="583" actId="20577"/>
          <ac:spMkLst>
            <pc:docMk/>
            <pc:sldMk cId="1694193373" sldId="2147138103"/>
            <ac:spMk id="7" creationId="{0014EE75-CA28-29B2-5BC6-0C276CE8F832}"/>
          </ac:spMkLst>
        </pc:spChg>
        <pc:spChg chg="add mod ord">
          <ac:chgData name="Oehrli, Stefan" userId="3f36891e-f853-43e7-bcbc-2879a2513833" providerId="ADAL" clId="{09BEBDDE-AF5B-9146-8B18-471724E5E3DD}" dt="2023-11-20T23:03:51.797" v="607" actId="20577"/>
          <ac:spMkLst>
            <pc:docMk/>
            <pc:sldMk cId="1694193373" sldId="2147138103"/>
            <ac:spMk id="8" creationId="{09AB6E8E-F6AC-C7D9-21F9-78AE22A992C8}"/>
          </ac:spMkLst>
        </pc:spChg>
        <pc:spChg chg="add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9" creationId="{19E66B63-774F-8366-F7F6-654F9C15E5BE}"/>
          </ac:spMkLst>
        </pc:spChg>
        <pc:spChg chg="add del mod ord">
          <ac:chgData name="Oehrli, Stefan" userId="3f36891e-f853-43e7-bcbc-2879a2513833" providerId="ADAL" clId="{09BEBDDE-AF5B-9146-8B18-471724E5E3DD}" dt="2023-11-20T22:57:41.141" v="562"/>
          <ac:spMkLst>
            <pc:docMk/>
            <pc:sldMk cId="1694193373" sldId="2147138103"/>
            <ac:spMk id="10" creationId="{7D1C921F-3229-DB7E-3F62-58118ACB9D8C}"/>
          </ac:spMkLst>
        </pc:spChg>
        <pc:picChg chg="add mod">
          <ac:chgData name="Oehrli, Stefan" userId="3f36891e-f853-43e7-bcbc-2879a2513833" providerId="ADAL" clId="{09BEBDDE-AF5B-9146-8B18-471724E5E3DD}" dt="2023-11-20T23:03:00.334" v="590" actId="1076"/>
          <ac:picMkLst>
            <pc:docMk/>
            <pc:sldMk cId="1694193373" sldId="2147138103"/>
            <ac:picMk id="11" creationId="{FB11F142-E6D4-5A0D-0FF1-92D143F96044}"/>
          </ac:picMkLst>
        </pc:picChg>
      </pc:sldChg>
      <pc:sldChg chg="addSp delSp modSp new del mod ord modClrScheme chgLayout">
        <pc:chgData name="Oehrli, Stefan" userId="3f36891e-f853-43e7-bcbc-2879a2513833" providerId="ADAL" clId="{09BEBDDE-AF5B-9146-8B18-471724E5E3DD}" dt="2023-11-21T05:00:18.885" v="2046" actId="2696"/>
        <pc:sldMkLst>
          <pc:docMk/>
          <pc:sldMk cId="2332192118" sldId="2147138104"/>
        </pc:sldMkLst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2" creationId="{E2C4DA1A-C8F1-6E69-0E26-CF1A76B7B352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3" creationId="{CED97462-8069-3FB2-0013-83A37EC13964}"/>
          </ac:spMkLst>
        </pc:spChg>
        <pc:spChg chg="del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4" creationId="{178E30B7-DD8D-0A64-120D-84E36AE18BD5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5" creationId="{87C5915C-8769-B231-F6E3-970E4B4ACA6F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6" creationId="{3DC2748B-434E-3839-08FF-F0F4DA0F8269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7" creationId="{8C28121F-69F9-FEB3-AC51-FEC1269D425B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8" creationId="{1D2E9DBC-D25D-45B8-E496-AE20F829BB4F}"/>
          </ac:spMkLst>
        </pc:spChg>
        <pc:spChg chg="add mod ord">
          <ac:chgData name="Oehrli, Stefan" userId="3f36891e-f853-43e7-bcbc-2879a2513833" providerId="ADAL" clId="{09BEBDDE-AF5B-9146-8B18-471724E5E3DD}" dt="2023-11-20T23:04:50.970" v="616" actId="20577"/>
          <ac:spMkLst>
            <pc:docMk/>
            <pc:sldMk cId="2332192118" sldId="2147138104"/>
            <ac:spMk id="9" creationId="{E9C2071A-9FE1-1658-0688-22C71C68A8A7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10" creationId="{4A98C24A-C4A0-20E0-C065-4F66036824EA}"/>
          </ac:spMkLst>
        </pc:spChg>
      </pc:sldChg>
      <pc:sldChg chg="addSp delSp modSp new mod ord modClrScheme modAnim chgLayout">
        <pc:chgData name="Oehrli, Stefan" userId="3f36891e-f853-43e7-bcbc-2879a2513833" providerId="ADAL" clId="{09BEBDDE-AF5B-9146-8B18-471724E5E3DD}" dt="2023-11-21T04:02:02.020" v="1703" actId="20577"/>
        <pc:sldMkLst>
          <pc:docMk/>
          <pc:sldMk cId="2475241319" sldId="2147138105"/>
        </pc:sldMkLst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2" creationId="{529C94DF-02DA-13D9-0B98-405F34C0CE25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3" creationId="{90B78CAD-9F4C-E595-3544-6FD8C4F12BFD}"/>
          </ac:spMkLst>
        </pc:spChg>
        <pc:spChg chg="del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4" creationId="{FC8BDFF6-E6BB-E4A8-1C88-9BD95C63D47A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5" creationId="{3D7F45EE-BA73-A422-CE1F-D4DC06209B58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6" creationId="{E29644A5-DAD3-BC69-DCD3-F0CB5E712C75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7" creationId="{89044E24-A45A-7A0B-F3B8-C24968E77FD6}"/>
          </ac:spMkLst>
        </pc:spChg>
        <pc:spChg chg="add mod ord">
          <ac:chgData name="Oehrli, Stefan" userId="3f36891e-f853-43e7-bcbc-2879a2513833" providerId="ADAL" clId="{09BEBDDE-AF5B-9146-8B18-471724E5E3DD}" dt="2023-11-21T03:17:22.502" v="1263"/>
          <ac:spMkLst>
            <pc:docMk/>
            <pc:sldMk cId="2475241319" sldId="2147138105"/>
            <ac:spMk id="8" creationId="{11095482-1C48-477A-8085-00A480960AB0}"/>
          </ac:spMkLst>
        </pc:spChg>
        <pc:spChg chg="add mod ord">
          <ac:chgData name="Oehrli, Stefan" userId="3f36891e-f853-43e7-bcbc-2879a2513833" providerId="ADAL" clId="{09BEBDDE-AF5B-9146-8B18-471724E5E3DD}" dt="2023-11-21T04:02:02.020" v="1703" actId="20577"/>
          <ac:spMkLst>
            <pc:docMk/>
            <pc:sldMk cId="2475241319" sldId="2147138105"/>
            <ac:spMk id="9" creationId="{C7347C64-0348-3831-8B5A-25F65080DF73}"/>
          </ac:spMkLst>
        </pc:spChg>
        <pc:spChg chg="add mod ord">
          <ac:chgData name="Oehrli, Stefan" userId="3f36891e-f853-43e7-bcbc-2879a2513833" providerId="ADAL" clId="{09BEBDDE-AF5B-9146-8B18-471724E5E3DD}" dt="2023-11-21T03:17:16.304" v="1262" actId="20577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09BEBDDE-AF5B-9146-8B18-471724E5E3DD}" dt="2023-11-21T04:00:01.021" v="1666" actId="1076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modSp new del mod">
        <pc:chgData name="Oehrli, Stefan" userId="3f36891e-f853-43e7-bcbc-2879a2513833" providerId="ADAL" clId="{09BEBDDE-AF5B-9146-8B18-471724E5E3DD}" dt="2023-11-21T05:56:17.990" v="3305" actId="2696"/>
        <pc:sldMkLst>
          <pc:docMk/>
          <pc:sldMk cId="24819970" sldId="2147138106"/>
        </pc:sldMkLst>
        <pc:spChg chg="mod">
          <ac:chgData name="Oehrli, Stefan" userId="3f36891e-f853-43e7-bcbc-2879a2513833" providerId="ADAL" clId="{09BEBDDE-AF5B-9146-8B18-471724E5E3DD}" dt="2023-11-20T23:05:30.504" v="679" actId="20577"/>
          <ac:spMkLst>
            <pc:docMk/>
            <pc:sldMk cId="24819970" sldId="2147138106"/>
            <ac:spMk id="3" creationId="{5C3AA801-0B07-2FC3-FC44-DD1F4AE2AB46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56:19.644" v="3306" actId="2696"/>
        <pc:sldMkLst>
          <pc:docMk/>
          <pc:sldMk cId="583801763" sldId="2147138107"/>
        </pc:sldMkLst>
        <pc:spChg chg="mod">
          <ac:chgData name="Oehrli, Stefan" userId="3f36891e-f853-43e7-bcbc-2879a2513833" providerId="ADAL" clId="{09BEBDDE-AF5B-9146-8B18-471724E5E3DD}" dt="2023-11-20T23:05:44.602" v="686" actId="5793"/>
          <ac:spMkLst>
            <pc:docMk/>
            <pc:sldMk cId="583801763" sldId="2147138107"/>
            <ac:spMk id="3" creationId="{08C98366-039C-80F5-1C8B-19BBBE71266C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00:23.418" v="2048" actId="2696"/>
        <pc:sldMkLst>
          <pc:docMk/>
          <pc:sldMk cId="3996096580" sldId="2147138108"/>
        </pc:sldMkLst>
        <pc:spChg chg="mod">
          <ac:chgData name="Oehrli, Stefan" userId="3f36891e-f853-43e7-bcbc-2879a2513833" providerId="ADAL" clId="{09BEBDDE-AF5B-9146-8B18-471724E5E3DD}" dt="2023-11-20T23:05:49.174" v="693" actId="20577"/>
          <ac:spMkLst>
            <pc:docMk/>
            <pc:sldMk cId="3996096580" sldId="2147138108"/>
            <ac:spMk id="3" creationId="{937DE279-BF53-3D3C-B2C1-21BF619A6300}"/>
          </ac:spMkLst>
        </pc:spChg>
      </pc:sldChg>
      <pc:sldChg chg="modSp new mod ord modAnim">
        <pc:chgData name="Oehrli, Stefan" userId="3f36891e-f853-43e7-bcbc-2879a2513833" providerId="ADAL" clId="{09BEBDDE-AF5B-9146-8B18-471724E5E3DD}" dt="2023-11-21T10:33:09.670" v="7097"/>
        <pc:sldMkLst>
          <pc:docMk/>
          <pc:sldMk cId="3368936083" sldId="2147138109"/>
        </pc:sldMkLst>
        <pc:spChg chg="mod">
          <ac:chgData name="Oehrli, Stefan" userId="3f36891e-f853-43e7-bcbc-2879a2513833" providerId="ADAL" clId="{09BEBDDE-AF5B-9146-8B18-471724E5E3DD}" dt="2023-11-21T05:15:54.169" v="2207" actId="20577"/>
          <ac:spMkLst>
            <pc:docMk/>
            <pc:sldMk cId="3368936083" sldId="2147138109"/>
            <ac:spMk id="2" creationId="{16497407-374A-8C5A-3077-5D39A5116E11}"/>
          </ac:spMkLst>
        </pc:spChg>
        <pc:spChg chg="mod">
          <ac:chgData name="Oehrli, Stefan" userId="3f36891e-f853-43e7-bcbc-2879a2513833" providerId="ADAL" clId="{09BEBDDE-AF5B-9146-8B18-471724E5E3DD}" dt="2023-11-21T05:26:22.190" v="2572" actId="2711"/>
          <ac:spMkLst>
            <pc:docMk/>
            <pc:sldMk cId="3368936083" sldId="2147138109"/>
            <ac:spMk id="3" creationId="{9C018C55-05F7-440F-D0D1-4C23FD52D6AF}"/>
          </ac:spMkLst>
        </pc:spChg>
        <pc:spChg chg="mod">
          <ac:chgData name="Oehrli, Stefan" userId="3f36891e-f853-43e7-bcbc-2879a2513833" providerId="ADAL" clId="{09BEBDDE-AF5B-9146-8B18-471724E5E3DD}" dt="2023-11-21T05:15:18.372" v="2204"/>
          <ac:spMkLst>
            <pc:docMk/>
            <pc:sldMk cId="3368936083" sldId="2147138109"/>
            <ac:spMk id="4" creationId="{B7F48254-FE32-1B35-62F2-B09B1DDB3F50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0T23:16:36.729" v="1058" actId="1076"/>
        <pc:sldMkLst>
          <pc:docMk/>
          <pc:sldMk cId="4159375980" sldId="2147138110"/>
        </pc:sldMkLst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2" creationId="{A3608CF7-84A5-A60A-2A0A-E8AB11EA3060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3" creationId="{1ACAFBD2-53B3-E9E0-8B47-4DD9FC10B0A2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4" creationId="{21B32A94-FBB2-E56B-27B5-851FA2E7B2C7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5" creationId="{5DB04688-A81C-633E-5A4C-0BA670A1797C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6" creationId="{CA065CD1-DB8A-990B-B6A4-BB7C00380662}"/>
          </ac:spMkLst>
        </pc:spChg>
        <pc:spChg chg="add mod ord">
          <ac:chgData name="Oehrli, Stefan" userId="3f36891e-f853-43e7-bcbc-2879a2513833" providerId="ADAL" clId="{09BEBDDE-AF5B-9146-8B18-471724E5E3DD}" dt="2023-11-20T23:10:08.369" v="815" actId="20577"/>
          <ac:spMkLst>
            <pc:docMk/>
            <pc:sldMk cId="4159375980" sldId="2147138110"/>
            <ac:spMk id="7" creationId="{2EC51D3D-70FE-A392-065C-F745E2992C39}"/>
          </ac:spMkLst>
        </pc:spChg>
        <pc:spChg chg="add mod ord">
          <ac:chgData name="Oehrli, Stefan" userId="3f36891e-f853-43e7-bcbc-2879a2513833" providerId="ADAL" clId="{09BEBDDE-AF5B-9146-8B18-471724E5E3DD}" dt="2023-11-20T23:16:27.345" v="1053" actId="20577"/>
          <ac:spMkLst>
            <pc:docMk/>
            <pc:sldMk cId="4159375980" sldId="2147138110"/>
            <ac:spMk id="8" creationId="{F4778D01-942F-FD1A-E6BC-B581D2B74146}"/>
          </ac:spMkLst>
        </pc:spChg>
        <pc:spChg chg="add mod ord">
          <ac:chgData name="Oehrli, Stefan" userId="3f36891e-f853-43e7-bcbc-2879a2513833" providerId="ADAL" clId="{09BEBDDE-AF5B-9146-8B18-471724E5E3DD}" dt="2023-11-20T23:10:42.114" v="854" actId="20577"/>
          <ac:spMkLst>
            <pc:docMk/>
            <pc:sldMk cId="4159375980" sldId="2147138110"/>
            <ac:spMk id="9" creationId="{2033E105-22FF-3F94-15F0-366E8E86D770}"/>
          </ac:spMkLst>
        </pc:spChg>
        <pc:spChg chg="add del mod ord">
          <ac:chgData name="Oehrli, Stefan" userId="3f36891e-f853-43e7-bcbc-2879a2513833" providerId="ADAL" clId="{09BEBDDE-AF5B-9146-8B18-471724E5E3DD}" dt="2023-11-20T23:09:44.651" v="763"/>
          <ac:spMkLst>
            <pc:docMk/>
            <pc:sldMk cId="4159375980" sldId="2147138110"/>
            <ac:spMk id="10" creationId="{4E9D21CD-2F9F-96ED-9450-7A197A9223F2}"/>
          </ac:spMkLst>
        </pc:spChg>
        <pc:picChg chg="add mod">
          <ac:chgData name="Oehrli, Stefan" userId="3f36891e-f853-43e7-bcbc-2879a2513833" providerId="ADAL" clId="{09BEBDDE-AF5B-9146-8B18-471724E5E3DD}" dt="2023-11-20T23:16:36.729" v="1058" actId="1076"/>
          <ac:picMkLst>
            <pc:docMk/>
            <pc:sldMk cId="4159375980" sldId="2147138110"/>
            <ac:picMk id="11" creationId="{FA279A26-72C4-0026-6F0A-1A0B0E457326}"/>
          </ac:picMkLst>
        </pc:picChg>
      </pc:sldChg>
      <pc:sldChg chg="addSp delSp modSp new mod ord chgLayout">
        <pc:chgData name="Oehrli, Stefan" userId="3f36891e-f853-43e7-bcbc-2879a2513833" providerId="ADAL" clId="{09BEBDDE-AF5B-9146-8B18-471724E5E3DD}" dt="2023-11-20T23:18:27.972" v="1078"/>
        <pc:sldMkLst>
          <pc:docMk/>
          <pc:sldMk cId="2774964817" sldId="2147138111"/>
        </pc:sldMkLst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2" creationId="{8592FB24-12A8-0F4E-CF77-2E2D931B88B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3" creationId="{AC28E316-6B11-F641-BFFC-11935C03DFF9}"/>
          </ac:spMkLst>
        </pc:spChg>
        <pc:spChg chg="del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4" creationId="{BA074CCF-9D7B-38C0-BB13-9EB1D91C735E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5" creationId="{87BED978-7378-65D6-B7A8-716E186EF83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6" creationId="{56C1E882-E98D-84C9-FA59-A6D42E3CA327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7" creationId="{FCF82A4F-E3A4-D879-F8D9-0AFBD63F9526}"/>
          </ac:spMkLst>
        </pc:spChg>
        <pc:spChg chg="add mod ord">
          <ac:chgData name="Oehrli, Stefan" userId="3f36891e-f853-43e7-bcbc-2879a2513833" providerId="ADAL" clId="{09BEBDDE-AF5B-9146-8B18-471724E5E3DD}" dt="2023-11-20T23:17:54.753" v="1075" actId="20577"/>
          <ac:spMkLst>
            <pc:docMk/>
            <pc:sldMk cId="2774964817" sldId="2147138111"/>
            <ac:spMk id="8" creationId="{BF25CD4C-3D0E-21F4-901C-AF885FE6C13E}"/>
          </ac:spMkLst>
        </pc:spChg>
        <pc:spChg chg="add mod ord">
          <ac:chgData name="Oehrli, Stefan" userId="3f36891e-f853-43e7-bcbc-2879a2513833" providerId="ADAL" clId="{09BEBDDE-AF5B-9146-8B18-471724E5E3DD}" dt="2023-11-20T23:17:49.364" v="1063" actId="20577"/>
          <ac:spMkLst>
            <pc:docMk/>
            <pc:sldMk cId="2774964817" sldId="2147138111"/>
            <ac:spMk id="9" creationId="{3C3E011B-8CC5-AF32-E555-24EF991C1C28}"/>
          </ac:spMkLst>
        </pc:spChg>
        <pc:spChg chg="add mod ord">
          <ac:chgData name="Oehrli, Stefan" userId="3f36891e-f853-43e7-bcbc-2879a2513833" providerId="ADAL" clId="{09BEBDDE-AF5B-9146-8B18-471724E5E3DD}" dt="2023-11-20T23:18:27.972" v="1078"/>
          <ac:spMkLst>
            <pc:docMk/>
            <pc:sldMk cId="2774964817" sldId="2147138111"/>
            <ac:spMk id="10" creationId="{E71E492B-E171-42B1-2E24-469DFA041F48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19:21.223" v="1098" actId="114"/>
        <pc:sldMkLst>
          <pc:docMk/>
          <pc:sldMk cId="424518403" sldId="2147138112"/>
        </pc:sldMkLst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2" creationId="{A3EEAFC1-B98E-39D6-81CF-59DD8106CA11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3" creationId="{B30ED5DD-EC20-3A33-64E9-9F3349F77674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4" creationId="{A5D2D620-574C-925C-5047-6DCEEF67B933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5" creationId="{92149BEA-677C-50DA-6461-8492D93FE99A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6" creationId="{6602F1E7-1191-71C6-FAA9-F19CB163EFC9}"/>
          </ac:spMkLst>
        </pc:spChg>
        <pc:spChg chg="add mod ord">
          <ac:chgData name="Oehrli, Stefan" userId="3f36891e-f853-43e7-bcbc-2879a2513833" providerId="ADAL" clId="{09BEBDDE-AF5B-9146-8B18-471724E5E3DD}" dt="2023-11-20T23:18:46.620" v="1096" actId="20577"/>
          <ac:spMkLst>
            <pc:docMk/>
            <pc:sldMk cId="424518403" sldId="2147138112"/>
            <ac:spMk id="7" creationId="{F68201F2-BCFB-6D14-7C78-E0C2C0496BF4}"/>
          </ac:spMkLst>
        </pc:spChg>
        <pc:spChg chg="add mod ord">
          <ac:chgData name="Oehrli, Stefan" userId="3f36891e-f853-43e7-bcbc-2879a2513833" providerId="ADAL" clId="{09BEBDDE-AF5B-9146-8B18-471724E5E3DD}" dt="2023-11-20T23:18:42.240" v="1082" actId="20577"/>
          <ac:spMkLst>
            <pc:docMk/>
            <pc:sldMk cId="424518403" sldId="2147138112"/>
            <ac:spMk id="8" creationId="{731D6917-619F-E945-C176-D1FBB4B2F553}"/>
          </ac:spMkLst>
        </pc:spChg>
        <pc:spChg chg="add mod ord">
          <ac:chgData name="Oehrli, Stefan" userId="3f36891e-f853-43e7-bcbc-2879a2513833" providerId="ADAL" clId="{09BEBDDE-AF5B-9146-8B18-471724E5E3DD}" dt="2023-11-20T23:19:21.223" v="1098" actId="114"/>
          <ac:spMkLst>
            <pc:docMk/>
            <pc:sldMk cId="424518403" sldId="2147138112"/>
            <ac:spMk id="9" creationId="{A75A3D33-4831-D4E5-56F6-537BE3375A4D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20:38.799" v="1132" actId="5793"/>
        <pc:sldMkLst>
          <pc:docMk/>
          <pc:sldMk cId="1136284001" sldId="2147138113"/>
        </pc:sldMkLst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2" creationId="{69CDE5CF-2FA5-D87F-5A31-56A6257C14B8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3" creationId="{7F602AAE-413B-1C48-11D1-54F13CC85160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4" creationId="{EC748F11-0F85-3D5D-DBE4-359F455FA7E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5" creationId="{1725330E-B7A1-751A-6ADE-B3DC9023C73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6" creationId="{876787A2-A2A3-CBB6-98C2-941C8FFC91E3}"/>
          </ac:spMkLst>
        </pc:spChg>
        <pc:spChg chg="add mod ord">
          <ac:chgData name="Oehrli, Stefan" userId="3f36891e-f853-43e7-bcbc-2879a2513833" providerId="ADAL" clId="{09BEBDDE-AF5B-9146-8B18-471724E5E3DD}" dt="2023-11-20T23:20:01.519" v="1127" actId="20577"/>
          <ac:spMkLst>
            <pc:docMk/>
            <pc:sldMk cId="1136284001" sldId="2147138113"/>
            <ac:spMk id="7" creationId="{C3A4703B-8513-4EF1-E20F-196FA209EA29}"/>
          </ac:spMkLst>
        </pc:spChg>
        <pc:spChg chg="add mod ord">
          <ac:chgData name="Oehrli, Stefan" userId="3f36891e-f853-43e7-bcbc-2879a2513833" providerId="ADAL" clId="{09BEBDDE-AF5B-9146-8B18-471724E5E3DD}" dt="2023-11-20T23:19:52.258" v="1102" actId="20577"/>
          <ac:spMkLst>
            <pc:docMk/>
            <pc:sldMk cId="1136284001" sldId="2147138113"/>
            <ac:spMk id="8" creationId="{DC155FE0-F932-177C-D091-A6660EC4F92D}"/>
          </ac:spMkLst>
        </pc:spChg>
        <pc:spChg chg="add mod ord">
          <ac:chgData name="Oehrli, Stefan" userId="3f36891e-f853-43e7-bcbc-2879a2513833" providerId="ADAL" clId="{09BEBDDE-AF5B-9146-8B18-471724E5E3DD}" dt="2023-11-20T23:20:38.799" v="1132" actId="5793"/>
          <ac:spMkLst>
            <pc:docMk/>
            <pc:sldMk cId="1136284001" sldId="2147138113"/>
            <ac:spMk id="9" creationId="{F768FB15-6BB3-0B89-C93E-8D8962A8795D}"/>
          </ac:spMkLst>
        </pc:spChg>
      </pc:sldChg>
      <pc:sldChg chg="addSp delSp modSp new mod ord modClrScheme chgLayout">
        <pc:chgData name="Oehrli, Stefan" userId="3f36891e-f853-43e7-bcbc-2879a2513833" providerId="ADAL" clId="{09BEBDDE-AF5B-9146-8B18-471724E5E3DD}" dt="2023-11-21T06:11:29.777" v="3594" actId="20577"/>
        <pc:sldMkLst>
          <pc:docMk/>
          <pc:sldMk cId="2191559807" sldId="2147138114"/>
        </pc:sldMkLst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2" creationId="{FCC4E52D-4BA0-708D-5D85-13EA669837B3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3" creationId="{0A6CFD29-B884-7992-60D9-4FCEC7EA3214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4" creationId="{93A61C8B-240B-5082-3E37-C32643E2F068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5" creationId="{29EACC0F-45CE-32AA-E022-C01807FE393D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6" creationId="{E05EC5CD-B857-F78D-6868-E05AAEB32A7B}"/>
          </ac:spMkLst>
        </pc:spChg>
        <pc:spChg chg="add mod ord">
          <ac:chgData name="Oehrli, Stefan" userId="3f36891e-f853-43e7-bcbc-2879a2513833" providerId="ADAL" clId="{09BEBDDE-AF5B-9146-8B18-471724E5E3DD}" dt="2023-11-21T06:05:37.198" v="3338"/>
          <ac:spMkLst>
            <pc:docMk/>
            <pc:sldMk cId="2191559807" sldId="2147138114"/>
            <ac:spMk id="7" creationId="{6D88795F-0EDA-2EBE-2839-3FE8707FFA7F}"/>
          </ac:spMkLst>
        </pc:spChg>
        <pc:spChg chg="add mod ord">
          <ac:chgData name="Oehrli, Stefan" userId="3f36891e-f853-43e7-bcbc-2879a2513833" providerId="ADAL" clId="{09BEBDDE-AF5B-9146-8B18-471724E5E3DD}" dt="2023-11-21T06:11:29.777" v="3594" actId="20577"/>
          <ac:spMkLst>
            <pc:docMk/>
            <pc:sldMk cId="2191559807" sldId="2147138114"/>
            <ac:spMk id="8" creationId="{98B1479F-3595-4B9A-276B-AA5E96561411}"/>
          </ac:spMkLst>
        </pc:spChg>
        <pc:spChg chg="add mod ord">
          <ac:chgData name="Oehrli, Stefan" userId="3f36891e-f853-43e7-bcbc-2879a2513833" providerId="ADAL" clId="{09BEBDDE-AF5B-9146-8B18-471724E5E3DD}" dt="2023-11-21T06:06:36.524" v="3346" actId="5793"/>
          <ac:spMkLst>
            <pc:docMk/>
            <pc:sldMk cId="2191559807" sldId="2147138114"/>
            <ac:spMk id="9" creationId="{ACF0A545-D7D6-2B33-7E91-E1DEFB0D11BD}"/>
          </ac:spMkLst>
        </pc:spChg>
        <pc:spChg chg="add mod ord">
          <ac:chgData name="Oehrli, Stefan" userId="3f36891e-f853-43e7-bcbc-2879a2513833" providerId="ADAL" clId="{09BEBDDE-AF5B-9146-8B18-471724E5E3DD}" dt="2023-11-21T06:05:50.419" v="3341" actId="14100"/>
          <ac:spMkLst>
            <pc:docMk/>
            <pc:sldMk cId="2191559807" sldId="2147138114"/>
            <ac:spMk id="10" creationId="{37D37A2F-F89E-5AAB-C1EF-0DBDE759A4D0}"/>
          </ac:spMkLst>
        </pc:spChg>
      </pc:sldChg>
      <pc:sldChg chg="modSp new mod ord">
        <pc:chgData name="Oehrli, Stefan" userId="3f36891e-f853-43e7-bcbc-2879a2513833" providerId="ADAL" clId="{09BEBDDE-AF5B-9146-8B18-471724E5E3DD}" dt="2023-11-21T05:56:44.517" v="3310" actId="20578"/>
        <pc:sldMkLst>
          <pc:docMk/>
          <pc:sldMk cId="934375759" sldId="2147138115"/>
        </pc:sldMkLst>
        <pc:spChg chg="mod">
          <ac:chgData name="Oehrli, Stefan" userId="3f36891e-f853-43e7-bcbc-2879a2513833" providerId="ADAL" clId="{09BEBDDE-AF5B-9146-8B18-471724E5E3DD}" dt="2023-11-20T23:21:01.604" v="1146" actId="20577"/>
          <ac:spMkLst>
            <pc:docMk/>
            <pc:sldMk cId="934375759" sldId="2147138115"/>
            <ac:spMk id="2" creationId="{A491A190-E5DC-85B4-6B73-11DC9D3F712C}"/>
          </ac:spMkLst>
        </pc:spChg>
        <pc:spChg chg="mod">
          <ac:chgData name="Oehrli, Stefan" userId="3f36891e-f853-43e7-bcbc-2879a2513833" providerId="ADAL" clId="{09BEBDDE-AF5B-9146-8B18-471724E5E3DD}" dt="2023-11-20T23:20:54.254" v="1138" actId="20577"/>
          <ac:spMkLst>
            <pc:docMk/>
            <pc:sldMk cId="934375759" sldId="2147138115"/>
            <ac:spMk id="3" creationId="{639CAD41-CE78-FDB1-2BFD-3E6C9D835A82}"/>
          </ac:spMkLst>
        </pc:spChg>
        <pc:spChg chg="mod">
          <ac:chgData name="Oehrli, Stefan" userId="3f36891e-f853-43e7-bcbc-2879a2513833" providerId="ADAL" clId="{09BEBDDE-AF5B-9146-8B18-471724E5E3DD}" dt="2023-11-20T23:23:32.976" v="1208" actId="5793"/>
          <ac:spMkLst>
            <pc:docMk/>
            <pc:sldMk cId="934375759" sldId="2147138115"/>
            <ac:spMk id="4" creationId="{B336FFE9-9195-5BAA-DD49-6BD6759D0324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08:42:23.030" v="4953" actId="14100"/>
        <pc:sldMkLst>
          <pc:docMk/>
          <pc:sldMk cId="1484047602" sldId="2147138116"/>
        </pc:sldMkLst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2" creationId="{866E175A-4010-1768-AB55-4889EE385554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3" creationId="{3A469E9C-D191-8880-DDBD-40C504F4A2B6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4" creationId="{256FB468-7C87-7AF5-F621-A8272B31BAC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5" creationId="{068B6656-227D-1437-59DF-E0F1CEF6F0F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6" creationId="{0040640B-312F-924E-48B1-77CCB1207059}"/>
          </ac:spMkLst>
        </pc:spChg>
        <pc:spChg chg="add mod ord">
          <ac:chgData name="Oehrli, Stefan" userId="3f36891e-f853-43e7-bcbc-2879a2513833" providerId="ADAL" clId="{09BEBDDE-AF5B-9146-8B18-471724E5E3DD}" dt="2023-11-20T23:23:48.222" v="1222" actId="20577"/>
          <ac:spMkLst>
            <pc:docMk/>
            <pc:sldMk cId="1484047602" sldId="2147138116"/>
            <ac:spMk id="7" creationId="{21563638-2555-70F4-D5D7-85126C84FD2E}"/>
          </ac:spMkLst>
        </pc:spChg>
        <pc:spChg chg="add mod ord">
          <ac:chgData name="Oehrli, Stefan" userId="3f36891e-f853-43e7-bcbc-2879a2513833" providerId="ADAL" clId="{09BEBDDE-AF5B-9146-8B18-471724E5E3DD}" dt="2023-11-20T23:23:45.761" v="1212" actId="20577"/>
          <ac:spMkLst>
            <pc:docMk/>
            <pc:sldMk cId="1484047602" sldId="2147138116"/>
            <ac:spMk id="8" creationId="{090913A8-0830-2CF3-54C0-DDF4B6F4EB1C}"/>
          </ac:spMkLst>
        </pc:spChg>
        <pc:spChg chg="add mod ord">
          <ac:chgData name="Oehrli, Stefan" userId="3f36891e-f853-43e7-bcbc-2879a2513833" providerId="ADAL" clId="{09BEBDDE-AF5B-9146-8B18-471724E5E3DD}" dt="2023-11-21T08:42:23.030" v="4953" actId="14100"/>
          <ac:spMkLst>
            <pc:docMk/>
            <pc:sldMk cId="1484047602" sldId="2147138116"/>
            <ac:spMk id="9" creationId="{166E3A80-C738-37AD-AEAA-5DE6CAA31919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10:18:46.400" v="6879" actId="20577"/>
        <pc:sldMkLst>
          <pc:docMk/>
          <pc:sldMk cId="1497942445" sldId="2147138117"/>
        </pc:sldMkLst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2" creationId="{AA27723A-E747-BA76-E4DB-A7E76D1DD92F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3" creationId="{E78B728B-4527-5F91-FB52-C7A1FFF563AC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4" creationId="{55769487-575A-C320-7D80-E1BEE8119901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5" creationId="{51283F34-A071-DC50-D839-8C3FCA0A2359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6" creationId="{180AF892-E159-1919-DA23-CA1EACFD7145}"/>
          </ac:spMkLst>
        </pc:spChg>
        <pc:spChg chg="add mod ord">
          <ac:chgData name="Oehrli, Stefan" userId="3f36891e-f853-43e7-bcbc-2879a2513833" providerId="ADAL" clId="{09BEBDDE-AF5B-9146-8B18-471724E5E3DD}" dt="2023-11-20T23:25:26.376" v="1251"/>
          <ac:spMkLst>
            <pc:docMk/>
            <pc:sldMk cId="1497942445" sldId="2147138117"/>
            <ac:spMk id="7" creationId="{5AFF6F87-7A68-7D91-A83F-C627637985B1}"/>
          </ac:spMkLst>
        </pc:spChg>
        <pc:spChg chg="add mod ord">
          <ac:chgData name="Oehrli, Stefan" userId="3f36891e-f853-43e7-bcbc-2879a2513833" providerId="ADAL" clId="{09BEBDDE-AF5B-9146-8B18-471724E5E3DD}" dt="2023-11-20T23:24:30.045" v="1233" actId="20577"/>
          <ac:spMkLst>
            <pc:docMk/>
            <pc:sldMk cId="1497942445" sldId="2147138117"/>
            <ac:spMk id="8" creationId="{5B4980FA-B259-287E-D836-01816D048B1B}"/>
          </ac:spMkLst>
        </pc:spChg>
        <pc:spChg chg="add mod ord">
          <ac:chgData name="Oehrli, Stefan" userId="3f36891e-f853-43e7-bcbc-2879a2513833" providerId="ADAL" clId="{09BEBDDE-AF5B-9146-8B18-471724E5E3DD}" dt="2023-11-21T10:18:46.400" v="6879" actId="20577"/>
          <ac:spMkLst>
            <pc:docMk/>
            <pc:sldMk cId="1497942445" sldId="2147138117"/>
            <ac:spMk id="9" creationId="{AF4E43EF-F115-6195-4B3F-408A358F3C4B}"/>
          </ac:spMkLst>
        </pc:spChg>
      </pc:sldChg>
      <pc:sldChg chg="modSp add del mod">
        <pc:chgData name="Oehrli, Stefan" userId="3f36891e-f853-43e7-bcbc-2879a2513833" providerId="ADAL" clId="{09BEBDDE-AF5B-9146-8B18-471724E5E3DD}" dt="2023-11-21T05:00:05.429" v="2044" actId="2696"/>
        <pc:sldMkLst>
          <pc:docMk/>
          <pc:sldMk cId="1058470750" sldId="2147138118"/>
        </pc:sldMkLst>
        <pc:spChg chg="mod">
          <ac:chgData name="Oehrli, Stefan" userId="3f36891e-f853-43e7-bcbc-2879a2513833" providerId="ADAL" clId="{09BEBDDE-AF5B-9146-8B18-471724E5E3DD}" dt="2023-11-21T04:46:51.770" v="1821" actId="20577"/>
          <ac:spMkLst>
            <pc:docMk/>
            <pc:sldMk cId="1058470750" sldId="2147138118"/>
            <ac:spMk id="9" creationId="{C7347C64-0348-3831-8B5A-25F65080DF73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03:48:59.742" v="1516"/>
        <pc:sldMkLst>
          <pc:docMk/>
          <pc:sldMk cId="2826333923" sldId="2147138119"/>
        </pc:sldMkLst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2" creationId="{7AAEE823-CA95-74E9-ADAA-C3E0CC509EBB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3" creationId="{4CE06FB6-9FA2-3FD2-9BCA-A964CB21ABB8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4" creationId="{8CBBD033-9C43-459F-741A-AD9DFD88B92E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6" creationId="{D38AAB2C-94A3-ECDE-3CCD-F43A3D74ADBF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7" creationId="{654E4491-1A88-E1F4-E4A2-217D6EEF3FCD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8" creationId="{068BFD81-9201-6164-3C98-9083AE454B94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9" creationId="{30C476F9-AD5A-2F97-EDC7-2AEC251042FA}"/>
          </ac:spMkLst>
        </pc:spChg>
        <pc:spChg chg="add mod ord">
          <ac:chgData name="Oehrli, Stefan" userId="3f36891e-f853-43e7-bcbc-2879a2513833" providerId="ADAL" clId="{09BEBDDE-AF5B-9146-8B18-471724E5E3DD}" dt="2023-11-21T03:35:54.646" v="1419"/>
          <ac:spMkLst>
            <pc:docMk/>
            <pc:sldMk cId="2826333923" sldId="2147138119"/>
            <ac:spMk id="10" creationId="{5F3ADBAD-2ABE-B405-CFCE-543412CD3950}"/>
          </ac:spMkLst>
        </pc:spChg>
        <pc:spChg chg="add mod ord">
          <ac:chgData name="Oehrli, Stefan" userId="3f36891e-f853-43e7-bcbc-2879a2513833" providerId="ADAL" clId="{09BEBDDE-AF5B-9146-8B18-471724E5E3DD}" dt="2023-11-21T03:47:43.123" v="1503" actId="20577"/>
          <ac:spMkLst>
            <pc:docMk/>
            <pc:sldMk cId="2826333923" sldId="2147138119"/>
            <ac:spMk id="11" creationId="{C5540C4A-C200-C46D-BABB-120EA10F9077}"/>
          </ac:spMkLst>
        </pc:spChg>
        <pc:spChg chg="add mod ord">
          <ac:chgData name="Oehrli, Stefan" userId="3f36891e-f853-43e7-bcbc-2879a2513833" providerId="ADAL" clId="{09BEBDDE-AF5B-9146-8B18-471724E5E3DD}" dt="2023-11-21T03:36:12.861" v="1424" actId="5793"/>
          <ac:spMkLst>
            <pc:docMk/>
            <pc:sldMk cId="2826333923" sldId="2147138119"/>
            <ac:spMk id="12" creationId="{EA3EACE1-1657-1420-0EE2-A684DBE10F52}"/>
          </ac:spMkLst>
        </pc:spChg>
        <pc:spChg chg="add del mod ord">
          <ac:chgData name="Oehrli, Stefan" userId="3f36891e-f853-43e7-bcbc-2879a2513833" providerId="ADAL" clId="{09BEBDDE-AF5B-9146-8B18-471724E5E3DD}" dt="2023-11-21T03:37:43.211" v="1427"/>
          <ac:spMkLst>
            <pc:docMk/>
            <pc:sldMk cId="2826333923" sldId="2147138119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47:39.199" v="1501" actId="1076"/>
          <ac:picMkLst>
            <pc:docMk/>
            <pc:sldMk cId="2826333923" sldId="2147138119"/>
            <ac:picMk id="14" creationId="{5DDB58A2-B3C7-10E5-2E6A-227AB4475995}"/>
          </ac:picMkLst>
        </pc:picChg>
        <pc:picChg chg="add del mod">
          <ac:chgData name="Oehrli, Stefan" userId="3f36891e-f853-43e7-bcbc-2879a2513833" providerId="ADAL" clId="{09BEBDDE-AF5B-9146-8B18-471724E5E3DD}" dt="2023-11-21T03:31:23.480" v="1351" actId="478"/>
          <ac:picMkLst>
            <pc:docMk/>
            <pc:sldMk cId="2826333923" sldId="2147138119"/>
            <ac:picMk id="2050" creationId="{951DAC8C-A24E-7D31-F2A9-FA34A2973924}"/>
          </ac:picMkLst>
        </pc:picChg>
      </pc:sldChg>
      <pc:sldChg chg="addSp delSp modSp add mod modClrScheme chgLayout">
        <pc:chgData name="Oehrli, Stefan" userId="3f36891e-f853-43e7-bcbc-2879a2513833" providerId="ADAL" clId="{09BEBDDE-AF5B-9146-8B18-471724E5E3DD}" dt="2023-11-21T03:34:30.604" v="1418" actId="14100"/>
        <pc:sldMkLst>
          <pc:docMk/>
          <pc:sldMk cId="3662948178" sldId="2147138120"/>
        </pc:sldMkLst>
        <pc:spChg chg="add mod ord">
          <ac:chgData name="Oehrli, Stefan" userId="3f36891e-f853-43e7-bcbc-2879a2513833" providerId="ADAL" clId="{09BEBDDE-AF5B-9146-8B18-471724E5E3DD}" dt="2023-11-21T03:32:45.699" v="1393"/>
          <ac:spMkLst>
            <pc:docMk/>
            <pc:sldMk cId="3662948178" sldId="2147138120"/>
            <ac:spMk id="2" creationId="{5692B88E-56A0-120C-F379-E60AA4EF7C6D}"/>
          </ac:spMkLst>
        </pc:spChg>
        <pc:spChg chg="add mod">
          <ac:chgData name="Oehrli, Stefan" userId="3f36891e-f853-43e7-bcbc-2879a2513833" providerId="ADAL" clId="{09BEBDDE-AF5B-9146-8B18-471724E5E3DD}" dt="2023-11-21T03:34:25.736" v="1416" actId="1076"/>
          <ac:spMkLst>
            <pc:docMk/>
            <pc:sldMk cId="3662948178" sldId="2147138120"/>
            <ac:spMk id="4" creationId="{02C2D682-9317-223E-2615-C845EBFA3E36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6" creationId="{D38AAB2C-94A3-ECDE-3CCD-F43A3D74ADBF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0" creationId="{5F3ADBAD-2ABE-B405-CFCE-543412CD3950}"/>
          </ac:spMkLst>
        </pc:spChg>
        <pc:spChg chg="del mod ord">
          <ac:chgData name="Oehrli, Stefan" userId="3f36891e-f853-43e7-bcbc-2879a2513833" providerId="ADAL" clId="{09BEBDDE-AF5B-9146-8B18-471724E5E3DD}" dt="2023-11-21T03:32:02.313" v="1370"/>
          <ac:spMkLst>
            <pc:docMk/>
            <pc:sldMk cId="3662948178" sldId="2147138120"/>
            <ac:spMk id="11" creationId="{C5540C4A-C200-C46D-BABB-120EA10F9077}"/>
          </ac:spMkLst>
        </pc:spChg>
        <pc:spChg chg="del 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2" creationId="{EA3EACE1-1657-1420-0EE2-A684DBE10F52}"/>
          </ac:spMkLst>
        </pc:spChg>
        <pc:spChg chg="del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34:30.604" v="1418" actId="14100"/>
          <ac:picMkLst>
            <pc:docMk/>
            <pc:sldMk cId="3662948178" sldId="2147138120"/>
            <ac:picMk id="3" creationId="{CF0842FF-84BC-886A-151D-287C10DE1E5F}"/>
          </ac:picMkLst>
        </pc:picChg>
        <pc:picChg chg="del">
          <ac:chgData name="Oehrli, Stefan" userId="3f36891e-f853-43e7-bcbc-2879a2513833" providerId="ADAL" clId="{09BEBDDE-AF5B-9146-8B18-471724E5E3DD}" dt="2023-11-21T03:31:35.344" v="1353" actId="21"/>
          <ac:picMkLst>
            <pc:docMk/>
            <pc:sldMk cId="3662948178" sldId="2147138120"/>
            <ac:picMk id="2050" creationId="{951DAC8C-A24E-7D31-F2A9-FA34A2973924}"/>
          </ac:picMkLst>
        </pc:picChg>
      </pc:sldChg>
      <pc:sldChg chg="addSp delSp modSp new mod ord modClrScheme modAnim chgLayout">
        <pc:chgData name="Oehrli, Stefan" userId="3f36891e-f853-43e7-bcbc-2879a2513833" providerId="ADAL" clId="{09BEBDDE-AF5B-9146-8B18-471724E5E3DD}" dt="2023-11-21T03:58:19.161" v="1659" actId="20578"/>
        <pc:sldMkLst>
          <pc:docMk/>
          <pc:sldMk cId="666160610" sldId="2147138121"/>
        </pc:sldMkLst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2" creationId="{21BAA32E-87E5-FFE6-197E-BF8279A3AD1D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3" creationId="{70E039D7-D0F5-167B-8B6F-46B5CF8EA1A0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4" creationId="{8A681B70-57FD-5E45-981C-3DA93D32B759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5" creationId="{7D2CB076-2424-25D2-6CA8-3F62F4D30AE5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6" creationId="{FEEFF248-800B-F3E2-5F15-18B8CF7297A6}"/>
          </ac:spMkLst>
        </pc:spChg>
        <pc:spChg chg="add del mod ord">
          <ac:chgData name="Oehrli, Stefan" userId="3f36891e-f853-43e7-bcbc-2879a2513833" providerId="ADAL" clId="{09BEBDDE-AF5B-9146-8B18-471724E5E3DD}" dt="2023-11-21T03:54:55.833" v="1636" actId="12"/>
          <ac:spMkLst>
            <pc:docMk/>
            <pc:sldMk cId="666160610" sldId="2147138121"/>
            <ac:spMk id="7" creationId="{370701DC-A45B-E549-24ED-868B1C20E7F9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8" creationId="{7B7C21A9-BA8E-8035-8AF7-8D125C866046}"/>
          </ac:spMkLst>
        </pc:spChg>
        <pc:spChg chg="add del mod ord">
          <ac:chgData name="Oehrli, Stefan" userId="3f36891e-f853-43e7-bcbc-2879a2513833" providerId="ADAL" clId="{09BEBDDE-AF5B-9146-8B18-471724E5E3DD}" dt="2023-11-21T03:54:57.938" v="1637" actId="12"/>
          <ac:spMkLst>
            <pc:docMk/>
            <pc:sldMk cId="666160610" sldId="2147138121"/>
            <ac:spMk id="9" creationId="{92860932-76E1-E164-1A33-41CEDE602802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0" creationId="{0E51F200-46AB-EC66-E727-5444528ECB71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1" creationId="{8774FB65-3C59-A5C2-62FF-1B2D95D86F3C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2" creationId="{A3374EA3-279D-05F1-FB39-0440103CFE5D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3" creationId="{544CCD76-D238-5CAB-9DEA-97F3773419D0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4" creationId="{3D608334-5978-4410-2098-0622286AB3AF}"/>
          </ac:spMkLst>
        </pc:spChg>
        <pc:picChg chg="add del mod">
          <ac:chgData name="Oehrli, Stefan" userId="3f36891e-f853-43e7-bcbc-2879a2513833" providerId="ADAL" clId="{09BEBDDE-AF5B-9146-8B18-471724E5E3DD}" dt="2023-11-21T03:54:31.928" v="1557"/>
          <ac:picMkLst>
            <pc:docMk/>
            <pc:sldMk cId="666160610" sldId="2147138121"/>
            <ac:picMk id="15" creationId="{8D47D2FB-99A9-802F-6F59-A35EE3E99198}"/>
          </ac:picMkLst>
        </pc:picChg>
        <pc:picChg chg="add del mod">
          <ac:chgData name="Oehrli, Stefan" userId="3f36891e-f853-43e7-bcbc-2879a2513833" providerId="ADAL" clId="{09BEBDDE-AF5B-9146-8B18-471724E5E3DD}" dt="2023-11-21T03:54:31.514" v="1556"/>
          <ac:picMkLst>
            <pc:docMk/>
            <pc:sldMk cId="666160610" sldId="2147138121"/>
            <ac:picMk id="16" creationId="{3FE347CA-2122-9DDF-0CDD-704C1C9A7781}"/>
          </ac:picMkLst>
        </pc:picChg>
        <pc:picChg chg="add mod">
          <ac:chgData name="Oehrli, Stefan" userId="3f36891e-f853-43e7-bcbc-2879a2513833" providerId="ADAL" clId="{09BEBDDE-AF5B-9146-8B18-471724E5E3DD}" dt="2023-11-21T03:55:09.589" v="1645" actId="1076"/>
          <ac:picMkLst>
            <pc:docMk/>
            <pc:sldMk cId="666160610" sldId="2147138121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09BEBDDE-AF5B-9146-8B18-471724E5E3DD}" dt="2023-11-21T03:57:09.497" v="1651"/>
          <ac:picMkLst>
            <pc:docMk/>
            <pc:sldMk cId="666160610" sldId="2147138121"/>
            <ac:picMk id="18" creationId="{21509633-A763-6241-A26D-22CF7DAB6B81}"/>
          </ac:picMkLst>
        </pc:picChg>
        <pc:picChg chg="add mod">
          <ac:chgData name="Oehrli, Stefan" userId="3f36891e-f853-43e7-bcbc-2879a2513833" providerId="ADAL" clId="{09BEBDDE-AF5B-9146-8B18-471724E5E3DD}" dt="2023-11-21T03:57:40.941" v="1656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1T10:31:34.361" v="7083"/>
        <pc:sldMkLst>
          <pc:docMk/>
          <pc:sldMk cId="3069574028" sldId="2147138122"/>
        </pc:sldMkLst>
        <pc:spChg chg="mod ord">
          <ac:chgData name="Oehrli, Stefan" userId="3f36891e-f853-43e7-bcbc-2879a2513833" providerId="ADAL" clId="{09BEBDDE-AF5B-9146-8B18-471724E5E3DD}" dt="2023-11-21T04:49:31.397" v="1871" actId="21"/>
          <ac:spMkLst>
            <pc:docMk/>
            <pc:sldMk cId="3069574028" sldId="2147138122"/>
            <ac:spMk id="2" creationId="{62E73163-1B94-708C-37BC-35D761D25724}"/>
          </ac:spMkLst>
        </pc:spChg>
        <pc:spChg chg="add del 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3" creationId="{AC13F4CD-BC00-D570-B046-2D48E7E39415}"/>
          </ac:spMkLst>
        </pc:spChg>
        <pc:spChg chg="mod ord">
          <ac:chgData name="Oehrli, Stefan" userId="3f36891e-f853-43e7-bcbc-2879a2513833" providerId="ADAL" clId="{09BEBDDE-AF5B-9146-8B18-471724E5E3DD}" dt="2023-11-21T04:41:25.159" v="1735" actId="20577"/>
          <ac:spMkLst>
            <pc:docMk/>
            <pc:sldMk cId="3069574028" sldId="2147138122"/>
            <ac:spMk id="4" creationId="{FFAFCD88-0E5D-281C-5604-87E09897D04C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5" creationId="{A0A79A1A-7907-B696-6A7F-004778F6F9C4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6" creationId="{1C10A12B-6A1A-FDD8-47DB-B11161F50D6D}"/>
          </ac:spMkLst>
        </pc:spChg>
        <pc:spChg chg="add mod ord">
          <ac:chgData name="Oehrli, Stefan" userId="3f36891e-f853-43e7-bcbc-2879a2513833" providerId="ADAL" clId="{09BEBDDE-AF5B-9146-8B18-471724E5E3DD}" dt="2023-11-21T04:43:07.027" v="1797" actId="113"/>
          <ac:spMkLst>
            <pc:docMk/>
            <pc:sldMk cId="3069574028" sldId="2147138122"/>
            <ac:spMk id="7" creationId="{AEFEA64C-4A2E-B929-4793-FB0973DFD19B}"/>
          </ac:spMkLst>
        </pc:spChg>
        <pc:spChg chg="add mod ord">
          <ac:chgData name="Oehrli, Stefan" userId="3f36891e-f853-43e7-bcbc-2879a2513833" providerId="ADAL" clId="{09BEBDDE-AF5B-9146-8B18-471724E5E3DD}" dt="2023-11-21T04:43:10.214" v="1798" actId="113"/>
          <ac:spMkLst>
            <pc:docMk/>
            <pc:sldMk cId="3069574028" sldId="2147138122"/>
            <ac:spMk id="8" creationId="{C3813C3A-9C3B-3133-5893-052CB15DC1E0}"/>
          </ac:spMkLst>
        </pc:spChg>
        <pc:picChg chg="add del mod">
          <ac:chgData name="Oehrli, Stefan" userId="3f36891e-f853-43e7-bcbc-2879a2513833" providerId="ADAL" clId="{09BEBDDE-AF5B-9146-8B18-471724E5E3DD}" dt="2023-11-21T04:39:57.856" v="1727" actId="478"/>
          <ac:picMkLst>
            <pc:docMk/>
            <pc:sldMk cId="3069574028" sldId="2147138122"/>
            <ac:picMk id="9" creationId="{E169D652-E9FE-61A4-4C3F-2838160AF862}"/>
          </ac:picMkLst>
        </pc:picChg>
        <pc:picChg chg="add del mod">
          <ac:chgData name="Oehrli, Stefan" userId="3f36891e-f853-43e7-bcbc-2879a2513833" providerId="ADAL" clId="{09BEBDDE-AF5B-9146-8B18-471724E5E3DD}" dt="2023-11-21T04:45:59.982" v="1805" actId="478"/>
          <ac:picMkLst>
            <pc:docMk/>
            <pc:sldMk cId="3069574028" sldId="2147138122"/>
            <ac:picMk id="10" creationId="{4832F601-5FFC-A7C6-693E-21A1D0649CA2}"/>
          </ac:picMkLst>
        </pc:picChg>
        <pc:picChg chg="add mod">
          <ac:chgData name="Oehrli, Stefan" userId="3f36891e-f853-43e7-bcbc-2879a2513833" providerId="ADAL" clId="{09BEBDDE-AF5B-9146-8B18-471724E5E3DD}" dt="2023-11-21T04:46:05.856" v="1810" actId="1076"/>
          <ac:picMkLst>
            <pc:docMk/>
            <pc:sldMk cId="3069574028" sldId="2147138122"/>
            <ac:picMk id="11" creationId="{8FD42AF6-F68D-4B8D-08D0-D7C2DC16CE19}"/>
          </ac:picMkLst>
        </pc:picChg>
        <pc:picChg chg="add mod">
          <ac:chgData name="Oehrli, Stefan" userId="3f36891e-f853-43e7-bcbc-2879a2513833" providerId="ADAL" clId="{09BEBDDE-AF5B-9146-8B18-471724E5E3DD}" dt="2023-11-21T04:46:27.341" v="1818" actId="1036"/>
          <ac:picMkLst>
            <pc:docMk/>
            <pc:sldMk cId="3069574028" sldId="2147138122"/>
            <ac:picMk id="12" creationId="{2C634B4B-70C2-981D-E089-BEE9753B0BFD}"/>
          </ac:picMkLst>
        </pc:picChg>
        <pc:picChg chg="add del mod">
          <ac:chgData name="Oehrli, Stefan" userId="3f36891e-f853-43e7-bcbc-2879a2513833" providerId="ADAL" clId="{09BEBDDE-AF5B-9146-8B18-471724E5E3DD}" dt="2023-11-21T04:09:38.058" v="1707"/>
          <ac:picMkLst>
            <pc:docMk/>
            <pc:sldMk cId="3069574028" sldId="2147138122"/>
            <ac:picMk id="5122" creationId="{40CE46AB-4DE3-1D90-0550-4B571D6C457A}"/>
          </ac:picMkLst>
        </pc:picChg>
      </pc:sldChg>
      <pc:sldChg chg="addSp delSp modSp new del">
        <pc:chgData name="Oehrli, Stefan" userId="3f36891e-f853-43e7-bcbc-2879a2513833" providerId="ADAL" clId="{09BEBDDE-AF5B-9146-8B18-471724E5E3DD}" dt="2023-11-21T03:58:22.145" v="1660" actId="2696"/>
        <pc:sldMkLst>
          <pc:docMk/>
          <pc:sldMk cId="3373334715" sldId="2147138122"/>
        </pc:sldMkLst>
        <pc:spChg chg="del">
          <ac:chgData name="Oehrli, Stefan" userId="3f36891e-f853-43e7-bcbc-2879a2513833" providerId="ADAL" clId="{09BEBDDE-AF5B-9146-8B18-471724E5E3DD}" dt="2023-11-21T03:50:39.656" v="1544"/>
          <ac:spMkLst>
            <pc:docMk/>
            <pc:sldMk cId="3373334715" sldId="2147138122"/>
            <ac:spMk id="3" creationId="{4F8A4754-5958-F4EF-0AC1-1A22553A63A8}"/>
          </ac:spMkLst>
        </pc:spChg>
        <pc:picChg chg="add mod">
          <ac:chgData name="Oehrli, Stefan" userId="3f36891e-f853-43e7-bcbc-2879a2513833" providerId="ADAL" clId="{09BEBDDE-AF5B-9146-8B18-471724E5E3DD}" dt="2023-11-21T03:50:39.656" v="1544"/>
          <ac:picMkLst>
            <pc:docMk/>
            <pc:sldMk cId="3373334715" sldId="2147138122"/>
            <ac:picMk id="8" creationId="{91DDAF12-899A-9552-C897-5A5BD740F054}"/>
          </ac:picMkLst>
        </pc:picChg>
      </pc:sldChg>
      <pc:sldChg chg="addSp delSp modSp new mod modAnim">
        <pc:chgData name="Oehrli, Stefan" userId="3f36891e-f853-43e7-bcbc-2879a2513833" providerId="ADAL" clId="{09BEBDDE-AF5B-9146-8B18-471724E5E3DD}" dt="2023-11-21T05:10:27.359" v="2184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09BEBDDE-AF5B-9146-8B18-471724E5E3DD}" dt="2023-11-21T04:49:47.067" v="1879" actId="20577"/>
          <ac:spMkLst>
            <pc:docMk/>
            <pc:sldMk cId="764597068" sldId="2147138123"/>
            <ac:spMk id="2" creationId="{93173BB2-FF72-F38D-B305-3AAB3F55CE4F}"/>
          </ac:spMkLst>
        </pc:spChg>
        <pc:spChg chg="mod">
          <ac:chgData name="Oehrli, Stefan" userId="3f36891e-f853-43e7-bcbc-2879a2513833" providerId="ADAL" clId="{09BEBDDE-AF5B-9146-8B18-471724E5E3DD}" dt="2023-11-21T05:10:27.359" v="2184" actId="20577"/>
          <ac:spMkLst>
            <pc:docMk/>
            <pc:sldMk cId="764597068" sldId="2147138123"/>
            <ac:spMk id="3" creationId="{A52441E0-7614-B876-9C6E-6749BDE4FF10}"/>
          </ac:spMkLst>
        </pc:spChg>
        <pc:spChg chg="mod">
          <ac:chgData name="Oehrli, Stefan" userId="3f36891e-f853-43e7-bcbc-2879a2513833" providerId="ADAL" clId="{09BEBDDE-AF5B-9146-8B18-471724E5E3DD}" dt="2023-11-21T04:49:16.812" v="1868" actId="20577"/>
          <ac:spMkLst>
            <pc:docMk/>
            <pc:sldMk cId="764597068" sldId="2147138123"/>
            <ac:spMk id="4" creationId="{BD29FBB0-F567-7177-2760-3FC112794BAB}"/>
          </ac:spMkLst>
        </pc:spChg>
        <pc:spChg chg="mod">
          <ac:chgData name="Oehrli, Stefan" userId="3f36891e-f853-43e7-bcbc-2879a2513833" providerId="ADAL" clId="{09BEBDDE-AF5B-9146-8B18-471724E5E3DD}" dt="2023-11-21T04:53:27.314" v="1894"/>
          <ac:spMkLst>
            <pc:docMk/>
            <pc:sldMk cId="764597068" sldId="2147138123"/>
            <ac:spMk id="6" creationId="{4FB5419F-40C9-65FD-1092-DD0D29B147CE}"/>
          </ac:spMkLst>
        </pc:spChg>
        <pc:picChg chg="add del mod">
          <ac:chgData name="Oehrli, Stefan" userId="3f36891e-f853-43e7-bcbc-2879a2513833" providerId="ADAL" clId="{09BEBDDE-AF5B-9146-8B18-471724E5E3DD}" dt="2023-11-21T04:48:16.141" v="1843"/>
          <ac:picMkLst>
            <pc:docMk/>
            <pc:sldMk cId="764597068" sldId="2147138123"/>
            <ac:picMk id="6146" creationId="{E6001A0F-EFAC-1722-10AA-D98B2C57EF3F}"/>
          </ac:picMkLst>
        </pc:picChg>
        <pc:picChg chg="add mod">
          <ac:chgData name="Oehrli, Stefan" userId="3f36891e-f853-43e7-bcbc-2879a2513833" providerId="ADAL" clId="{09BEBDDE-AF5B-9146-8B18-471724E5E3DD}" dt="2023-11-21T04:48:30.487" v="1854" actId="1440"/>
          <ac:picMkLst>
            <pc:docMk/>
            <pc:sldMk cId="764597068" sldId="2147138123"/>
            <ac:picMk id="6148" creationId="{89F8648E-6EEF-ED5E-D97D-D8B7DBD8D58A}"/>
          </ac:picMkLst>
        </pc:picChg>
      </pc:sldChg>
      <pc:sldChg chg="new del">
        <pc:chgData name="Oehrli, Stefan" userId="3f36891e-f853-43e7-bcbc-2879a2513833" providerId="ADAL" clId="{09BEBDDE-AF5B-9146-8B18-471724E5E3DD}" dt="2023-11-21T03:50:10.780" v="1543" actId="2696"/>
        <pc:sldMkLst>
          <pc:docMk/>
          <pc:sldMk cId="3515238191" sldId="2147138123"/>
        </pc:sldMkLst>
      </pc:sldChg>
      <pc:sldChg chg="modSp add mod">
        <pc:chgData name="Oehrli, Stefan" userId="3f36891e-f853-43e7-bcbc-2879a2513833" providerId="ADAL" clId="{09BEBDDE-AF5B-9146-8B18-471724E5E3DD}" dt="2023-11-21T05:33:46.514" v="2686"/>
        <pc:sldMkLst>
          <pc:docMk/>
          <pc:sldMk cId="2147595729" sldId="2147138181"/>
        </pc:sldMkLst>
        <pc:spChg chg="mod">
          <ac:chgData name="Oehrli, Stefan" userId="3f36891e-f853-43e7-bcbc-2879a2513833" providerId="ADAL" clId="{09BEBDDE-AF5B-9146-8B18-471724E5E3DD}" dt="2023-11-21T05:28:44.469" v="2576"/>
          <ac:spMkLst>
            <pc:docMk/>
            <pc:sldMk cId="2147595729" sldId="2147138181"/>
            <ac:spMk id="7" creationId="{F49A733B-B185-4709-5A80-3E1F17C8C916}"/>
          </ac:spMkLst>
        </pc:spChg>
        <pc:spChg chg="mod">
          <ac:chgData name="Oehrli, Stefan" userId="3f36891e-f853-43e7-bcbc-2879a2513833" providerId="ADAL" clId="{09BEBDDE-AF5B-9146-8B18-471724E5E3DD}" dt="2023-11-21T05:29:22.385" v="2625" actId="20577"/>
          <ac:spMkLst>
            <pc:docMk/>
            <pc:sldMk cId="2147595729" sldId="2147138181"/>
            <ac:spMk id="8" creationId="{D98EAEC6-8BCA-19B6-01C7-301242300258}"/>
          </ac:spMkLst>
        </pc:spChg>
        <pc:spChg chg="mod">
          <ac:chgData name="Oehrli, Stefan" userId="3f36891e-f853-43e7-bcbc-2879a2513833" providerId="ADAL" clId="{09BEBDDE-AF5B-9146-8B18-471724E5E3DD}" dt="2023-11-21T05:33:46.514" v="2686"/>
          <ac:spMkLst>
            <pc:docMk/>
            <pc:sldMk cId="2147595729" sldId="2147138181"/>
            <ac:spMk id="9" creationId="{B8094804-B49D-7A28-E44A-3540F234031C}"/>
          </ac:spMkLst>
        </pc:spChg>
        <pc:spChg chg="mod">
          <ac:chgData name="Oehrli, Stefan" userId="3f36891e-f853-43e7-bcbc-2879a2513833" providerId="ADAL" clId="{09BEBDDE-AF5B-9146-8B18-471724E5E3DD}" dt="2023-11-21T05:31:47.288" v="2683" actId="14100"/>
          <ac:spMkLst>
            <pc:docMk/>
            <pc:sldMk cId="2147595729" sldId="2147138181"/>
            <ac:spMk id="10" creationId="{149A24A5-33B8-6C9D-DFCA-9F0F82CA298D}"/>
          </ac:spMkLst>
        </pc:spChg>
        <pc:spChg chg="mod">
          <ac:chgData name="Oehrli, Stefan" userId="3f36891e-f853-43e7-bcbc-2879a2513833" providerId="ADAL" clId="{09BEBDDE-AF5B-9146-8B18-471724E5E3DD}" dt="2023-11-21T05:29:26.401" v="2626" actId="14100"/>
          <ac:spMkLst>
            <pc:docMk/>
            <pc:sldMk cId="2147595729" sldId="2147138181"/>
            <ac:spMk id="11" creationId="{926D7446-2477-F7F5-2BDC-681F76FBB01C}"/>
          </ac:spMkLst>
        </pc:spChg>
        <pc:spChg chg="mod">
          <ac:chgData name="Oehrli, Stefan" userId="3f36891e-f853-43e7-bcbc-2879a2513833" providerId="ADAL" clId="{09BEBDDE-AF5B-9146-8B18-471724E5E3DD}" dt="2023-11-21T05:31:52.040" v="2685" actId="1076"/>
          <ac:spMkLst>
            <pc:docMk/>
            <pc:sldMk cId="2147595729" sldId="2147138181"/>
            <ac:spMk id="12" creationId="{E7B67226-0BC5-D209-C4F7-0C51409AA094}"/>
          </ac:spMkLst>
        </pc:spChg>
      </pc:sldChg>
      <pc:sldChg chg="addSp modSp add mod">
        <pc:chgData name="Oehrli, Stefan" userId="3f36891e-f853-43e7-bcbc-2879a2513833" providerId="ADAL" clId="{09BEBDDE-AF5B-9146-8B18-471724E5E3DD}" dt="2023-11-21T05:56:14.060" v="3304"/>
        <pc:sldMkLst>
          <pc:docMk/>
          <pc:sldMk cId="2709564194" sldId="2147138182"/>
        </pc:sldMkLst>
        <pc:spChg chg="add mod">
          <ac:chgData name="Oehrli, Stefan" userId="3f36891e-f853-43e7-bcbc-2879a2513833" providerId="ADAL" clId="{09BEBDDE-AF5B-9146-8B18-471724E5E3DD}" dt="2023-11-21T05:56:14.060" v="3304"/>
          <ac:spMkLst>
            <pc:docMk/>
            <pc:sldMk cId="2709564194" sldId="2147138182"/>
            <ac:spMk id="2" creationId="{D914D4C2-B808-80B7-6D20-FF7ED9E56333}"/>
          </ac:spMkLst>
        </pc:spChg>
        <pc:spChg chg="mod">
          <ac:chgData name="Oehrli, Stefan" userId="3f36891e-f853-43e7-bcbc-2879a2513833" providerId="ADAL" clId="{09BEBDDE-AF5B-9146-8B18-471724E5E3DD}" dt="2023-11-21T05:53:57.867" v="3177"/>
          <ac:spMkLst>
            <pc:docMk/>
            <pc:sldMk cId="2709564194" sldId="2147138182"/>
            <ac:spMk id="10" creationId="{B9480EA0-9DBE-A72B-236B-1BC6DB618B0A}"/>
          </ac:spMkLst>
        </pc:spChg>
        <pc:spChg chg="mod">
          <ac:chgData name="Oehrli, Stefan" userId="3f36891e-f853-43e7-bcbc-2879a2513833" providerId="ADAL" clId="{09BEBDDE-AF5B-9146-8B18-471724E5E3DD}" dt="2023-11-21T05:54:24.165" v="3210" actId="14100"/>
          <ac:spMkLst>
            <pc:docMk/>
            <pc:sldMk cId="2709564194" sldId="2147138182"/>
            <ac:spMk id="11" creationId="{415B4406-FA99-D570-AD52-CED2E4B840A4}"/>
          </ac:spMkLst>
        </pc:spChg>
        <pc:spChg chg="mod">
          <ac:chgData name="Oehrli, Stefan" userId="3f36891e-f853-43e7-bcbc-2879a2513833" providerId="ADAL" clId="{09BEBDDE-AF5B-9146-8B18-471724E5E3DD}" dt="2023-11-21T05:54:03.444" v="3179" actId="20577"/>
          <ac:spMkLst>
            <pc:docMk/>
            <pc:sldMk cId="2709564194" sldId="2147138182"/>
            <ac:spMk id="12" creationId="{74E927DB-7412-F646-06AF-F4CA9770700D}"/>
          </ac:spMkLst>
        </pc:spChg>
        <pc:spChg chg="mod">
          <ac:chgData name="Oehrli, Stefan" userId="3f36891e-f853-43e7-bcbc-2879a2513833" providerId="ADAL" clId="{09BEBDDE-AF5B-9146-8B18-471724E5E3DD}" dt="2023-11-21T05:55:30.070" v="3215" actId="14100"/>
          <ac:spMkLst>
            <pc:docMk/>
            <pc:sldMk cId="2709564194" sldId="2147138182"/>
            <ac:spMk id="13" creationId="{F60375B8-9360-50A7-52F6-F169C3D8D243}"/>
          </ac:spMkLst>
        </pc:spChg>
      </pc:sldChg>
      <pc:sldChg chg="modSp new mod">
        <pc:chgData name="Oehrli, Stefan" userId="3f36891e-f853-43e7-bcbc-2879a2513833" providerId="ADAL" clId="{09BEBDDE-AF5B-9146-8B18-471724E5E3DD}" dt="2023-11-21T05:40:44.797" v="2840" actId="1076"/>
        <pc:sldMkLst>
          <pc:docMk/>
          <pc:sldMk cId="608967408" sldId="2147138183"/>
        </pc:sldMkLst>
        <pc:spChg chg="mod">
          <ac:chgData name="Oehrli, Stefan" userId="3f36891e-f853-43e7-bcbc-2879a2513833" providerId="ADAL" clId="{09BEBDDE-AF5B-9146-8B18-471724E5E3DD}" dt="2023-11-21T05:34:29.470" v="2708"/>
          <ac:spMkLst>
            <pc:docMk/>
            <pc:sldMk cId="608967408" sldId="2147138183"/>
            <ac:spMk id="2" creationId="{F47209B2-D914-51F2-4538-7F4C74C08F2C}"/>
          </ac:spMkLst>
        </pc:spChg>
        <pc:spChg chg="mod">
          <ac:chgData name="Oehrli, Stefan" userId="3f36891e-f853-43e7-bcbc-2879a2513833" providerId="ADAL" clId="{09BEBDDE-AF5B-9146-8B18-471724E5E3DD}" dt="2023-11-21T05:34:54.826" v="2759" actId="14100"/>
          <ac:spMkLst>
            <pc:docMk/>
            <pc:sldMk cId="608967408" sldId="2147138183"/>
            <ac:spMk id="3" creationId="{A7D7D1A1-BE62-160F-DDAD-CA75BFD7B4F1}"/>
          </ac:spMkLst>
        </pc:spChg>
        <pc:spChg chg="mod">
          <ac:chgData name="Oehrli, Stefan" userId="3f36891e-f853-43e7-bcbc-2879a2513833" providerId="ADAL" clId="{09BEBDDE-AF5B-9146-8B18-471724E5E3DD}" dt="2023-11-21T05:34:34.936" v="2710" actId="20577"/>
          <ac:spMkLst>
            <pc:docMk/>
            <pc:sldMk cId="608967408" sldId="2147138183"/>
            <ac:spMk id="4" creationId="{5CDCC8FD-22A4-8E0B-AD59-FF4E0FD3C3AB}"/>
          </ac:spMkLst>
        </pc:spChg>
        <pc:spChg chg="mod">
          <ac:chgData name="Oehrli, Stefan" userId="3f36891e-f853-43e7-bcbc-2879a2513833" providerId="ADAL" clId="{09BEBDDE-AF5B-9146-8B18-471724E5E3DD}" dt="2023-11-21T05:37:28.109" v="2838" actId="1076"/>
          <ac:spMkLst>
            <pc:docMk/>
            <pc:sldMk cId="608967408" sldId="2147138183"/>
            <ac:spMk id="7" creationId="{38039909-5DC4-F701-04DE-AC87871C99AF}"/>
          </ac:spMkLst>
        </pc:spChg>
        <pc:spChg chg="mod">
          <ac:chgData name="Oehrli, Stefan" userId="3f36891e-f853-43e7-bcbc-2879a2513833" providerId="ADAL" clId="{09BEBDDE-AF5B-9146-8B18-471724E5E3DD}" dt="2023-11-21T05:37:32.220" v="2839" actId="14100"/>
          <ac:spMkLst>
            <pc:docMk/>
            <pc:sldMk cId="608967408" sldId="2147138183"/>
            <ac:spMk id="8" creationId="{F722C1A2-8CB2-3FD8-BDA6-16F5D4E58EC0}"/>
          </ac:spMkLst>
        </pc:spChg>
        <pc:spChg chg="mod">
          <ac:chgData name="Oehrli, Stefan" userId="3f36891e-f853-43e7-bcbc-2879a2513833" providerId="ADAL" clId="{09BEBDDE-AF5B-9146-8B18-471724E5E3DD}" dt="2023-11-21T05:40:44.797" v="2840" actId="1076"/>
          <ac:spMkLst>
            <pc:docMk/>
            <pc:sldMk cId="608967408" sldId="2147138183"/>
            <ac:spMk id="9" creationId="{A5FD1EC3-8C8F-520F-79AC-71B74C027B3C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05:48:14.854" v="3026" actId="20577"/>
        <pc:sldMkLst>
          <pc:docMk/>
          <pc:sldMk cId="1555260919" sldId="2147138184"/>
        </pc:sldMkLst>
        <pc:spChg chg="mod">
          <ac:chgData name="Oehrli, Stefan" userId="3f36891e-f853-43e7-bcbc-2879a2513833" providerId="ADAL" clId="{09BEBDDE-AF5B-9146-8B18-471724E5E3DD}" dt="2023-11-21T05:42:41.869" v="2850"/>
          <ac:spMkLst>
            <pc:docMk/>
            <pc:sldMk cId="1555260919" sldId="2147138184"/>
            <ac:spMk id="2" creationId="{923A2719-33E7-55FD-BAE3-0EC137C47FAF}"/>
          </ac:spMkLst>
        </pc:spChg>
        <pc:spChg chg="mod">
          <ac:chgData name="Oehrli, Stefan" userId="3f36891e-f853-43e7-bcbc-2879a2513833" providerId="ADAL" clId="{09BEBDDE-AF5B-9146-8B18-471724E5E3DD}" dt="2023-11-21T05:43:03.209" v="2886" actId="14100"/>
          <ac:spMkLst>
            <pc:docMk/>
            <pc:sldMk cId="1555260919" sldId="2147138184"/>
            <ac:spMk id="3" creationId="{2819C6C8-C472-2DC4-0509-B769C28F8CDB}"/>
          </ac:spMkLst>
        </pc:spChg>
        <pc:spChg chg="mod">
          <ac:chgData name="Oehrli, Stefan" userId="3f36891e-f853-43e7-bcbc-2879a2513833" providerId="ADAL" clId="{09BEBDDE-AF5B-9146-8B18-471724E5E3DD}" dt="2023-11-21T05:42:48.067" v="2852" actId="20577"/>
          <ac:spMkLst>
            <pc:docMk/>
            <pc:sldMk cId="1555260919" sldId="2147138184"/>
            <ac:spMk id="4" creationId="{8AAD9335-92EB-C815-224E-70066C914AB4}"/>
          </ac:spMkLst>
        </pc:spChg>
        <pc:spChg chg="mod">
          <ac:chgData name="Oehrli, Stefan" userId="3f36891e-f853-43e7-bcbc-2879a2513833" providerId="ADAL" clId="{09BEBDDE-AF5B-9146-8B18-471724E5E3DD}" dt="2023-11-21T05:43:51.617" v="2936" actId="1076"/>
          <ac:spMkLst>
            <pc:docMk/>
            <pc:sldMk cId="1555260919" sldId="2147138184"/>
            <ac:spMk id="7" creationId="{28301F9C-3BC5-4E70-E798-81625D685A23}"/>
          </ac:spMkLst>
        </pc:spChg>
        <pc:spChg chg="mod">
          <ac:chgData name="Oehrli, Stefan" userId="3f36891e-f853-43e7-bcbc-2879a2513833" providerId="ADAL" clId="{09BEBDDE-AF5B-9146-8B18-471724E5E3DD}" dt="2023-11-21T05:45:41.914" v="2968" actId="14100"/>
          <ac:spMkLst>
            <pc:docMk/>
            <pc:sldMk cId="1555260919" sldId="2147138184"/>
            <ac:spMk id="8" creationId="{74391E79-CCE6-C7C0-DA18-A17EC1C529D0}"/>
          </ac:spMkLst>
        </pc:spChg>
        <pc:spChg chg="mod">
          <ac:chgData name="Oehrli, Stefan" userId="3f36891e-f853-43e7-bcbc-2879a2513833" providerId="ADAL" clId="{09BEBDDE-AF5B-9146-8B18-471724E5E3DD}" dt="2023-11-21T05:45:42.658" v="2969" actId="14100"/>
          <ac:spMkLst>
            <pc:docMk/>
            <pc:sldMk cId="1555260919" sldId="2147138184"/>
            <ac:spMk id="9" creationId="{176B216C-E6F5-0248-3FBF-FF83F7C2E6C5}"/>
          </ac:spMkLst>
        </pc:spChg>
        <pc:spChg chg="add mod">
          <ac:chgData name="Oehrli, Stefan" userId="3f36891e-f853-43e7-bcbc-2879a2513833" providerId="ADAL" clId="{09BEBDDE-AF5B-9146-8B18-471724E5E3DD}" dt="2023-11-21T05:48:14.854" v="3026" actId="20577"/>
          <ac:spMkLst>
            <pc:docMk/>
            <pc:sldMk cId="1555260919" sldId="2147138184"/>
            <ac:spMk id="10" creationId="{15F76C95-D01A-E35A-D434-8A2027B6F2B0}"/>
          </ac:spMkLst>
        </pc:spChg>
        <pc:spChg chg="add del mod">
          <ac:chgData name="Oehrli, Stefan" userId="3f36891e-f853-43e7-bcbc-2879a2513833" providerId="ADAL" clId="{09BEBDDE-AF5B-9146-8B18-471724E5E3DD}" dt="2023-11-21T05:47:49.263" v="2991" actId="478"/>
          <ac:spMkLst>
            <pc:docMk/>
            <pc:sldMk cId="1555260919" sldId="2147138184"/>
            <ac:spMk id="11" creationId="{FD65105F-BF67-FF13-53C9-CC3DBCBF2452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10:32:24.162" v="7092" actId="20577"/>
        <pc:sldMkLst>
          <pc:docMk/>
          <pc:sldMk cId="359752795" sldId="2147138185"/>
        </pc:sldMkLst>
        <pc:spChg chg="mod">
          <ac:chgData name="Oehrli, Stefan" userId="3f36891e-f853-43e7-bcbc-2879a2513833" providerId="ADAL" clId="{09BEBDDE-AF5B-9146-8B18-471724E5E3DD}" dt="2023-11-21T05:49:08.160" v="3028"/>
          <ac:spMkLst>
            <pc:docMk/>
            <pc:sldMk cId="359752795" sldId="2147138185"/>
            <ac:spMk id="2" creationId="{F4C7841E-58C0-27B4-A3C1-63E546F70D19}"/>
          </ac:spMkLst>
        </pc:spChg>
        <pc:spChg chg="mod">
          <ac:chgData name="Oehrli, Stefan" userId="3f36891e-f853-43e7-bcbc-2879a2513833" providerId="ADAL" clId="{09BEBDDE-AF5B-9146-8B18-471724E5E3DD}" dt="2023-11-21T05:53:15.281" v="3118" actId="14100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09BEBDDE-AF5B-9146-8B18-471724E5E3DD}" dt="2023-11-21T05:49:14.605" v="3030" actId="20577"/>
          <ac:spMkLst>
            <pc:docMk/>
            <pc:sldMk cId="359752795" sldId="2147138185"/>
            <ac:spMk id="4" creationId="{3479D3A0-E417-D2A3-D37F-4729F8076F7C}"/>
          </ac:spMkLst>
        </pc:spChg>
        <pc:spChg chg="add del mod">
          <ac:chgData name="Oehrli, Stefan" userId="3f36891e-f853-43e7-bcbc-2879a2513833" providerId="ADAL" clId="{09BEBDDE-AF5B-9146-8B18-471724E5E3DD}" dt="2023-11-21T10:32:24.162" v="7092" actId="20577"/>
          <ac:spMkLst>
            <pc:docMk/>
            <pc:sldMk cId="359752795" sldId="2147138185"/>
            <ac:spMk id="7" creationId="{F63E5CBE-332D-120C-3EA6-36A03230EE0A}"/>
          </ac:spMkLst>
        </pc:spChg>
        <pc:spChg chg="mod">
          <ac:chgData name="Oehrli, Stefan" userId="3f36891e-f853-43e7-bcbc-2879a2513833" providerId="ADAL" clId="{09BEBDDE-AF5B-9146-8B18-471724E5E3DD}" dt="2023-11-21T05:53:18.643" v="3119" actId="1076"/>
          <ac:spMkLst>
            <pc:docMk/>
            <pc:sldMk cId="359752795" sldId="2147138185"/>
            <ac:spMk id="8" creationId="{FEEC9AB0-CCA6-525D-E878-7FA4B450EEC4}"/>
          </ac:spMkLst>
        </pc:spChg>
        <pc:spChg chg="del mod">
          <ac:chgData name="Oehrli, Stefan" userId="3f36891e-f853-43e7-bcbc-2879a2513833" providerId="ADAL" clId="{09BEBDDE-AF5B-9146-8B18-471724E5E3DD}" dt="2023-11-21T05:53:21.798" v="3120" actId="478"/>
          <ac:spMkLst>
            <pc:docMk/>
            <pc:sldMk cId="359752795" sldId="2147138185"/>
            <ac:spMk id="9" creationId="{5F8FE063-F2E0-7095-A8A8-CF85D259D24E}"/>
          </ac:spMkLst>
        </pc:spChg>
      </pc:sldChg>
      <pc:sldChg chg="addSp delSp modSp new mod ord">
        <pc:chgData name="Oehrli, Stefan" userId="3f36891e-f853-43e7-bcbc-2879a2513833" providerId="ADAL" clId="{09BEBDDE-AF5B-9146-8B18-471724E5E3DD}" dt="2023-11-21T06:11:53.658" v="3596" actId="20578"/>
        <pc:sldMkLst>
          <pc:docMk/>
          <pc:sldMk cId="47853685" sldId="2147138186"/>
        </pc:sldMkLst>
        <pc:spChg chg="mod">
          <ac:chgData name="Oehrli, Stefan" userId="3f36891e-f853-43e7-bcbc-2879a2513833" providerId="ADAL" clId="{09BEBDDE-AF5B-9146-8B18-471724E5E3DD}" dt="2023-11-21T05:59:10.608" v="3329" actId="20577"/>
          <ac:spMkLst>
            <pc:docMk/>
            <pc:sldMk cId="47853685" sldId="2147138186"/>
            <ac:spMk id="2" creationId="{BA7E7B1B-0CB1-85FD-D899-8073B7E44EA2}"/>
          </ac:spMkLst>
        </pc:spChg>
        <pc:spChg chg="del mod">
          <ac:chgData name="Oehrli, Stefan" userId="3f36891e-f853-43e7-bcbc-2879a2513833" providerId="ADAL" clId="{09BEBDDE-AF5B-9146-8B18-471724E5E3DD}" dt="2023-11-21T05:58:57.925" v="3314"/>
          <ac:spMkLst>
            <pc:docMk/>
            <pc:sldMk cId="47853685" sldId="2147138186"/>
            <ac:spMk id="3" creationId="{022BC624-D2EB-494F-2308-84C780AAA9C0}"/>
          </ac:spMkLst>
        </pc:spChg>
        <pc:spChg chg="mod">
          <ac:chgData name="Oehrli, Stefan" userId="3f36891e-f853-43e7-bcbc-2879a2513833" providerId="ADAL" clId="{09BEBDDE-AF5B-9146-8B18-471724E5E3DD}" dt="2023-11-21T05:59:32.995" v="3331" actId="20577"/>
          <ac:spMkLst>
            <pc:docMk/>
            <pc:sldMk cId="47853685" sldId="2147138186"/>
            <ac:spMk id="4" creationId="{D296051F-462C-BFA9-2716-E38FB3C5D933}"/>
          </ac:spMkLst>
        </pc:spChg>
        <pc:picChg chg="add mod">
          <ac:chgData name="Oehrli, Stefan" userId="3f36891e-f853-43e7-bcbc-2879a2513833" providerId="ADAL" clId="{09BEBDDE-AF5B-9146-8B18-471724E5E3DD}" dt="2023-11-21T05:58:57.925" v="3314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addSp modSp new mod modAnim">
        <pc:chgData name="Oehrli, Stefan" userId="3f36891e-f853-43e7-bcbc-2879a2513833" providerId="ADAL" clId="{09BEBDDE-AF5B-9146-8B18-471724E5E3DD}" dt="2023-11-21T08:29:35.849" v="4619" actId="20577"/>
        <pc:sldMkLst>
          <pc:docMk/>
          <pc:sldMk cId="3736502658" sldId="2147138187"/>
        </pc:sldMkLst>
        <pc:spChg chg="mod">
          <ac:chgData name="Oehrli, Stefan" userId="3f36891e-f853-43e7-bcbc-2879a2513833" providerId="ADAL" clId="{09BEBDDE-AF5B-9146-8B18-471724E5E3DD}" dt="2023-11-21T06:14:34.072" v="3671"/>
          <ac:spMkLst>
            <pc:docMk/>
            <pc:sldMk cId="3736502658" sldId="2147138187"/>
            <ac:spMk id="2" creationId="{D5F85041-5D2A-50DE-B72E-32DB926A7F60}"/>
          </ac:spMkLst>
        </pc:spChg>
        <pc:spChg chg="mod">
          <ac:chgData name="Oehrli, Stefan" userId="3f36891e-f853-43e7-bcbc-2879a2513833" providerId="ADAL" clId="{09BEBDDE-AF5B-9146-8B18-471724E5E3DD}" dt="2023-11-21T08:29:35.849" v="4619" actId="20577"/>
          <ac:spMkLst>
            <pc:docMk/>
            <pc:sldMk cId="3736502658" sldId="2147138187"/>
            <ac:spMk id="3" creationId="{7345E89E-1AF6-0EEE-F052-FE458C10D639}"/>
          </ac:spMkLst>
        </pc:spChg>
        <pc:spChg chg="mod">
          <ac:chgData name="Oehrli, Stefan" userId="3f36891e-f853-43e7-bcbc-2879a2513833" providerId="ADAL" clId="{09BEBDDE-AF5B-9146-8B18-471724E5E3DD}" dt="2023-11-21T06:14:12.829" v="3668"/>
          <ac:spMkLst>
            <pc:docMk/>
            <pc:sldMk cId="3736502658" sldId="2147138187"/>
            <ac:spMk id="4" creationId="{BD70E906-EC14-1C26-665B-8307429B1387}"/>
          </ac:spMkLst>
        </pc:spChg>
        <pc:picChg chg="add mod">
          <ac:chgData name="Oehrli, Stefan" userId="3f36891e-f853-43e7-bcbc-2879a2513833" providerId="ADAL" clId="{09BEBDDE-AF5B-9146-8B18-471724E5E3DD}" dt="2023-11-21T07:25:11.125" v="4393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add mod modAnim">
        <pc:chgData name="Oehrli, Stefan" userId="3f36891e-f853-43e7-bcbc-2879a2513833" providerId="ADAL" clId="{09BEBDDE-AF5B-9146-8B18-471724E5E3DD}" dt="2023-11-21T07:18:07.199" v="4188"/>
        <pc:sldMkLst>
          <pc:docMk/>
          <pc:sldMk cId="529553536" sldId="2147138188"/>
        </pc:sldMkLst>
        <pc:spChg chg="mod">
          <ac:chgData name="Oehrli, Stefan" userId="3f36891e-f853-43e7-bcbc-2879a2513833" providerId="ADAL" clId="{09BEBDDE-AF5B-9146-8B18-471724E5E3DD}" dt="2023-11-21T07:17:36.937" v="4183" actId="20577"/>
          <ac:spMkLst>
            <pc:docMk/>
            <pc:sldMk cId="529553536" sldId="2147138188"/>
            <ac:spMk id="4" creationId="{946CA6F4-9448-6AD4-6D2E-3FBD4BF7C6FB}"/>
          </ac:spMkLst>
        </pc:spChg>
        <pc:picChg chg="add mod">
          <ac:chgData name="Oehrli, Stefan" userId="3f36891e-f853-43e7-bcbc-2879a2513833" providerId="ADAL" clId="{09BEBDDE-AF5B-9146-8B18-471724E5E3DD}" dt="2023-11-21T07:17:29.553" v="418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delSp modSp add mod delAnim modAnim">
        <pc:chgData name="Oehrli, Stefan" userId="3f36891e-f853-43e7-bcbc-2879a2513833" providerId="ADAL" clId="{09BEBDDE-AF5B-9146-8B18-471724E5E3DD}" dt="2023-11-21T09:22:05.898" v="5758"/>
        <pc:sldMkLst>
          <pc:docMk/>
          <pc:sldMk cId="3307806032" sldId="2147138189"/>
        </pc:sldMkLst>
        <pc:spChg chg="mod">
          <ac:chgData name="Oehrli, Stefan" userId="3f36891e-f853-43e7-bcbc-2879a2513833" providerId="ADAL" clId="{09BEBDDE-AF5B-9146-8B18-471724E5E3DD}" dt="2023-11-21T08:42:49.590" v="4988" actId="20577"/>
          <ac:spMkLst>
            <pc:docMk/>
            <pc:sldMk cId="3307806032" sldId="2147138189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9:20:33.872" v="5737" actId="20577"/>
          <ac:spMkLst>
            <pc:docMk/>
            <pc:sldMk cId="3307806032" sldId="2147138189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9:01:26.730" v="5397" actId="313"/>
          <ac:spMkLst>
            <pc:docMk/>
            <pc:sldMk cId="3307806032" sldId="2147138189"/>
            <ac:spMk id="5" creationId="{9784D766-D1AA-1F79-C449-899A26544C05}"/>
          </ac:spMkLst>
        </pc:spChg>
        <pc:spChg chg="add del">
          <ac:chgData name="Oehrli, Stefan" userId="3f36891e-f853-43e7-bcbc-2879a2513833" providerId="ADAL" clId="{09BEBDDE-AF5B-9146-8B18-471724E5E3DD}" dt="2023-11-21T09:15:42.349" v="5676" actId="22"/>
          <ac:spMkLst>
            <pc:docMk/>
            <pc:sldMk cId="3307806032" sldId="2147138189"/>
            <ac:spMk id="6" creationId="{3C991582-5CA0-46F3-7B91-F5D846266870}"/>
          </ac:spMkLst>
        </pc:spChg>
        <pc:picChg chg="add del mod">
          <ac:chgData name="Oehrli, Stefan" userId="3f36891e-f853-43e7-bcbc-2879a2513833" providerId="ADAL" clId="{09BEBDDE-AF5B-9146-8B18-471724E5E3DD}" dt="2023-11-21T09:21:48.501" v="5740" actId="478"/>
          <ac:picMkLst>
            <pc:docMk/>
            <pc:sldMk cId="3307806032" sldId="2147138189"/>
            <ac:picMk id="7" creationId="{3B3584F6-12A9-94BD-1504-FF6BDAE9EF3B}"/>
          </ac:picMkLst>
        </pc:picChg>
        <pc:picChg chg="add mod">
          <ac:chgData name="Oehrli, Stefan" userId="3f36891e-f853-43e7-bcbc-2879a2513833" providerId="ADAL" clId="{09BEBDDE-AF5B-9146-8B18-471724E5E3DD}" dt="2023-11-21T09:21:59.553" v="5756" actId="1076"/>
          <ac:picMkLst>
            <pc:docMk/>
            <pc:sldMk cId="3307806032" sldId="2147138189"/>
            <ac:picMk id="8" creationId="{D5CE4942-9522-88CC-4F0A-74CE6E9C98F2}"/>
          </ac:picMkLst>
        </pc:picChg>
      </pc:sldChg>
      <pc:sldChg chg="modSp new add del mod">
        <pc:chgData name="Oehrli, Stefan" userId="3f36891e-f853-43e7-bcbc-2879a2513833" providerId="ADAL" clId="{09BEBDDE-AF5B-9146-8B18-471724E5E3DD}" dt="2023-11-21T07:21:38.259" v="4199" actId="2696"/>
        <pc:sldMkLst>
          <pc:docMk/>
          <pc:sldMk cId="3470909482" sldId="2147138189"/>
        </pc:sldMkLst>
        <pc:spChg chg="mod">
          <ac:chgData name="Oehrli, Stefan" userId="3f36891e-f853-43e7-bcbc-2879a2513833" providerId="ADAL" clId="{09BEBDDE-AF5B-9146-8B18-471724E5E3DD}" dt="2023-11-21T07:21:36.086" v="4198" actId="5793"/>
          <ac:spMkLst>
            <pc:docMk/>
            <pc:sldMk cId="3470909482" sldId="2147138189"/>
            <ac:spMk id="3" creationId="{1A8E2F58-6B28-623B-E70E-7DD0892B621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08:53:37.111" v="5279"/>
        <pc:sldMkLst>
          <pc:docMk/>
          <pc:sldMk cId="2582172254" sldId="2147138190"/>
        </pc:sldMkLst>
        <pc:spChg chg="add mod ord">
          <ac:chgData name="Oehrli, Stefan" userId="3f36891e-f853-43e7-bcbc-2879a2513833" providerId="ADAL" clId="{09BEBDDE-AF5B-9146-8B18-471724E5E3DD}" dt="2023-11-21T08:53:21.196" v="5276" actId="20577"/>
          <ac:spMkLst>
            <pc:docMk/>
            <pc:sldMk cId="2582172254" sldId="2147138190"/>
            <ac:spMk id="2" creationId="{5B8BC93B-00BA-9736-AD4C-6D7E4FD95083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8:51:34.729" v="5223" actId="113"/>
          <ac:spMkLst>
            <pc:docMk/>
            <pc:sldMk cId="2582172254" sldId="2147138190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5" creationId="{9784D766-D1AA-1F79-C449-899A26544C05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14:16:15.346" v="7102" actId="20577"/>
        <pc:sldMkLst>
          <pc:docMk/>
          <pc:sldMk cId="2312882381" sldId="2147138191"/>
        </pc:sldMkLst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2" creationId="{76A9A7DB-CB4A-3570-4CEF-E73255D9E091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3" creationId="{E8C31FCA-B56F-016B-562F-F4CC042D479B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4" creationId="{0A3762F3-719B-555A-5810-2EADA1073125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5" creationId="{3B795C26-C67F-1099-80AD-892DA22FB1F2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6" creationId="{1411F5A9-DC78-E587-CD3E-578EEF365D3C}"/>
          </ac:spMkLst>
        </pc:spChg>
        <pc:spChg chg="add mod ord">
          <ac:chgData name="Oehrli, Stefan" userId="3f36891e-f853-43e7-bcbc-2879a2513833" providerId="ADAL" clId="{09BEBDDE-AF5B-9146-8B18-471724E5E3DD}" dt="2023-11-21T09:39:32.005" v="6161" actId="20577"/>
          <ac:spMkLst>
            <pc:docMk/>
            <pc:sldMk cId="2312882381" sldId="2147138191"/>
            <ac:spMk id="7" creationId="{0330C398-CC72-8FA1-C8A9-CBE2CA6882A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8" creationId="{F2ADD750-1ECD-0452-D9F0-F5969A3FBE12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9" creationId="{50F1C8F4-F91E-E06E-C81C-77653E460064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0" creationId="{1C73F2F6-21FD-1CAD-1F3F-AA8CD3B4284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1" creationId="{6B4D6349-3D4C-BCC7-7274-8E8EED355DBF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2" creationId="{13E7FF7C-1314-41A5-7272-754F2AE86FA0}"/>
          </ac:spMkLst>
        </pc:spChg>
        <pc:spChg chg="add mod ord">
          <ac:chgData name="Oehrli, Stefan" userId="3f36891e-f853-43e7-bcbc-2879a2513833" providerId="ADAL" clId="{09BEBDDE-AF5B-9146-8B18-471724E5E3DD}" dt="2023-11-21T09:38:23.546" v="6146" actId="14100"/>
          <ac:spMkLst>
            <pc:docMk/>
            <pc:sldMk cId="2312882381" sldId="2147138191"/>
            <ac:spMk id="13" creationId="{999C2DD0-5008-DFFB-6883-D253543253F6}"/>
          </ac:spMkLst>
        </pc:spChg>
        <pc:spChg chg="add mod ord">
          <ac:chgData name="Oehrli, Stefan" userId="3f36891e-f853-43e7-bcbc-2879a2513833" providerId="ADAL" clId="{09BEBDDE-AF5B-9146-8B18-471724E5E3DD}" dt="2023-11-21T09:25:14.606" v="5772" actId="20577"/>
          <ac:spMkLst>
            <pc:docMk/>
            <pc:sldMk cId="2312882381" sldId="2147138191"/>
            <ac:spMk id="14" creationId="{7F2126D2-D58F-D2D1-FE2B-ACA7E97917EE}"/>
          </ac:spMkLst>
        </pc:spChg>
        <pc:spChg chg="add mod ord">
          <ac:chgData name="Oehrli, Stefan" userId="3f36891e-f853-43e7-bcbc-2879a2513833" providerId="ADAL" clId="{09BEBDDE-AF5B-9146-8B18-471724E5E3DD}" dt="2023-11-21T14:16:15.346" v="7102" actId="20577"/>
          <ac:spMkLst>
            <pc:docMk/>
            <pc:sldMk cId="2312882381" sldId="2147138191"/>
            <ac:spMk id="15" creationId="{E9C0567E-985C-B436-2AD1-4EDF434A4723}"/>
          </ac:spMkLst>
        </pc:spChg>
        <pc:spChg chg="add mod">
          <ac:chgData name="Oehrli, Stefan" userId="3f36891e-f853-43e7-bcbc-2879a2513833" providerId="ADAL" clId="{09BEBDDE-AF5B-9146-8B18-471724E5E3DD}" dt="2023-11-21T09:35:00.578" v="6109" actId="1076"/>
          <ac:spMkLst>
            <pc:docMk/>
            <pc:sldMk cId="2312882381" sldId="2147138191"/>
            <ac:spMk id="16" creationId="{835D818A-918E-8BA1-5F9E-0FB377EED9E5}"/>
          </ac:spMkLst>
        </pc:spChg>
        <pc:spChg chg="add del mod">
          <ac:chgData name="Oehrli, Stefan" userId="3f36891e-f853-43e7-bcbc-2879a2513833" providerId="ADAL" clId="{09BEBDDE-AF5B-9146-8B18-471724E5E3DD}" dt="2023-11-21T09:35:04.024" v="6110" actId="478"/>
          <ac:spMkLst>
            <pc:docMk/>
            <pc:sldMk cId="2312882381" sldId="2147138191"/>
            <ac:spMk id="17" creationId="{9B67CDFF-623B-CB73-B26C-A44072A3892D}"/>
          </ac:spMkLst>
        </pc:spChg>
      </pc:sldChg>
      <pc:sldChg chg="new del">
        <pc:chgData name="Oehrli, Stefan" userId="3f36891e-f853-43e7-bcbc-2879a2513833" providerId="ADAL" clId="{09BEBDDE-AF5B-9146-8B18-471724E5E3DD}" dt="2023-11-21T09:22:41.323" v="5761" actId="680"/>
        <pc:sldMkLst>
          <pc:docMk/>
          <pc:sldMk cId="3472705739" sldId="2147138191"/>
        </pc:sldMkLst>
      </pc:sldChg>
      <pc:sldChg chg="addSp modSp new mod modClrScheme modAnim chgLayout">
        <pc:chgData name="Oehrli, Stefan" userId="3f36891e-f853-43e7-bcbc-2879a2513833" providerId="ADAL" clId="{09BEBDDE-AF5B-9146-8B18-471724E5E3DD}" dt="2023-11-21T10:10:04.381" v="6499"/>
        <pc:sldMkLst>
          <pc:docMk/>
          <pc:sldMk cId="3816320732" sldId="2147138192"/>
        </pc:sldMkLst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2" creationId="{AC396108-BFA3-C1AD-F5AB-E868896E4460}"/>
          </ac:spMkLst>
        </pc:spChg>
        <pc:spChg chg="mod ord">
          <ac:chgData name="Oehrli, Stefan" userId="3f36891e-f853-43e7-bcbc-2879a2513833" providerId="ADAL" clId="{09BEBDDE-AF5B-9146-8B18-471724E5E3DD}" dt="2023-11-21T10:06:11.039" v="6447" actId="15"/>
          <ac:spMkLst>
            <pc:docMk/>
            <pc:sldMk cId="3816320732" sldId="2147138192"/>
            <ac:spMk id="3" creationId="{D2694F25-2A15-653B-9E8D-32C71A720F88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4" creationId="{DAC999A3-E423-431B-8584-D01014EF9AB2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5" creationId="{A73784C6-F2BE-8364-A404-D3DE68E31A45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6" creationId="{8FD27A11-05AA-0E3D-3ABA-78A599A766F1}"/>
          </ac:spMkLst>
        </pc:spChg>
        <pc:spChg chg="mod ord">
          <ac:chgData name="Oehrli, Stefan" userId="3f36891e-f853-43e7-bcbc-2879a2513833" providerId="ADAL" clId="{09BEBDDE-AF5B-9146-8B18-471724E5E3DD}" dt="2023-11-21T10:06:04.584" v="6446" actId="5793"/>
          <ac:spMkLst>
            <pc:docMk/>
            <pc:sldMk cId="3816320732" sldId="2147138192"/>
            <ac:spMk id="7" creationId="{CF8C683E-8A48-A67D-16A3-C1396F62E7F7}"/>
          </ac:spMkLst>
        </pc:spChg>
        <pc:spChg chg="add mod ord">
          <ac:chgData name="Oehrli, Stefan" userId="3f36891e-f853-43e7-bcbc-2879a2513833" providerId="ADAL" clId="{09BEBDDE-AF5B-9146-8B18-471724E5E3DD}" dt="2023-11-21T09:44:57.441" v="6296" actId="1076"/>
          <ac:spMkLst>
            <pc:docMk/>
            <pc:sldMk cId="3816320732" sldId="2147138192"/>
            <ac:spMk id="8" creationId="{BC9B1CE3-B4D6-8177-3C2F-9922A3A3C38A}"/>
          </ac:spMkLst>
        </pc:spChg>
        <pc:spChg chg="add mod ord">
          <ac:chgData name="Oehrli, Stefan" userId="3f36891e-f853-43e7-bcbc-2879a2513833" providerId="ADAL" clId="{09BEBDDE-AF5B-9146-8B18-471724E5E3DD}" dt="2023-11-21T10:07:19.616" v="6448" actId="14100"/>
          <ac:spMkLst>
            <pc:docMk/>
            <pc:sldMk cId="3816320732" sldId="2147138192"/>
            <ac:spMk id="9" creationId="{0984AE4D-3DB7-BB8C-8515-E4B3F143CB16}"/>
          </ac:spMkLst>
        </pc:spChg>
        <pc:spChg chg="add mod">
          <ac:chgData name="Oehrli, Stefan" userId="3f36891e-f853-43e7-bcbc-2879a2513833" providerId="ADAL" clId="{09BEBDDE-AF5B-9146-8B18-471724E5E3DD}" dt="2023-11-21T10:08:23.622" v="6491" actId="20577"/>
          <ac:spMkLst>
            <pc:docMk/>
            <pc:sldMk cId="3816320732" sldId="2147138192"/>
            <ac:spMk id="10" creationId="{6BFCC7A4-3119-251D-CF78-7474254E1A52}"/>
          </ac:spMkLst>
        </pc:spChg>
      </pc:sldChg>
      <pc:sldChg chg="addSp delSp modSp new mod chgLayout">
        <pc:chgData name="Oehrli, Stefan" userId="3f36891e-f853-43e7-bcbc-2879a2513833" providerId="ADAL" clId="{09BEBDDE-AF5B-9146-8B18-471724E5E3DD}" dt="2023-11-23T21:01:43.691" v="7104" actId="700"/>
        <pc:sldMkLst>
          <pc:docMk/>
          <pc:sldMk cId="354290953" sldId="2147138193"/>
        </pc:sldMkLst>
        <pc:spChg chg="del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2" creationId="{F70BF2BB-FE4F-EC65-E9A2-BECEE5E2B13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4" creationId="{C0E159C0-DDC6-060B-9E85-4842008AFAF6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5" creationId="{425700E5-E8D3-C4DC-DC24-E8F8452EFD13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6" creationId="{51E811E9-FE9E-A201-2FC9-4DE62FF66868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7" creationId="{C103DB0E-9CBB-1238-0235-D395009C4904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8" creationId="{1F5DFDF8-A6DB-7ABE-DF74-401BC979AD5B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3T21:01:48.502" v="7106" actId="700"/>
        <pc:sldMkLst>
          <pc:docMk/>
          <pc:sldMk cId="1007215444" sldId="2147138194"/>
        </pc:sldMkLst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2" creationId="{4EF83BD6-3C92-AB9B-4CBA-0FEDD81840F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3" creationId="{1057EBAF-8310-996C-9B80-CB0730F1CBE1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4" creationId="{956D1F9F-52D2-7453-912B-4C6FF600FB68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5" creationId="{7CED73A2-5EF3-D238-1E73-F02FF628439C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6" creationId="{F0D1A69A-DF70-8077-C387-005346CFB0C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7" creationId="{427C096F-14E9-0063-969C-0765857E90E7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8" creationId="{64E437E4-F8D9-D499-1F74-BBBE36717BDB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9" creationId="{D6728AEA-AB60-E7F0-A515-B7BD4D6B4858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0" creationId="{966FA6AF-5FCE-A40A-2967-A2B125B17315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1" creationId="{3B8021DE-12A5-55A9-B9A9-9BD9733F5E6C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2" creationId="{EF4B145D-8848-9483-0F6E-F5D29BEEADF2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3" creationId="{C490EEFD-3542-E8BE-17FB-11717D97C116}"/>
          </ac:spMkLst>
        </pc:spChg>
      </pc:sldChg>
    </pc:docChg>
  </pc:docChgLst>
  <pc:docChgLst>
    <pc:chgData name="Oehrli, Stefan" userId="3f36891e-f853-43e7-bcbc-2879a2513833" providerId="ADAL" clId="{E6976C97-2060-8C46-9F3A-EAFB418BA348}"/>
    <pc:docChg chg="undo redo custSel addSld delSld modSld sldOrd modSection">
      <pc:chgData name="Oehrli, Stefan" userId="3f36891e-f853-43e7-bcbc-2879a2513833" providerId="ADAL" clId="{E6976C97-2060-8C46-9F3A-EAFB418BA348}" dt="2024-05-06T04:02:03.380" v="1672"/>
      <pc:docMkLst>
        <pc:docMk/>
      </pc:docMkLst>
      <pc:sldChg chg="addSp modSp add mod modShow">
        <pc:chgData name="Oehrli, Stefan" userId="3f36891e-f853-43e7-bcbc-2879a2513833" providerId="ADAL" clId="{E6976C97-2060-8C46-9F3A-EAFB418BA348}" dt="2024-04-25T09:20:29.924" v="1372" actId="729"/>
        <pc:sldMkLst>
          <pc:docMk/>
          <pc:sldMk cId="146017791" sldId="274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8" creationId="{1B891389-0A1D-9E68-09F4-71821C72EF6C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10" creationId="{88BE103F-3063-075D-3268-441A225446B1}"/>
          </ac:spMkLst>
        </pc:spChg>
      </pc:sldChg>
      <pc:sldChg chg="delSp modSp mod">
        <pc:chgData name="Oehrli, Stefan" userId="3f36891e-f853-43e7-bcbc-2879a2513833" providerId="ADAL" clId="{E6976C97-2060-8C46-9F3A-EAFB418BA348}" dt="2024-04-25T07:52:05.967" v="1368"/>
        <pc:sldMkLst>
          <pc:docMk/>
          <pc:sldMk cId="217193527" sldId="308"/>
        </pc:sldMkLst>
        <pc:spChg chg="del mod">
          <ac:chgData name="Oehrli, Stefan" userId="3f36891e-f853-43e7-bcbc-2879a2513833" providerId="ADAL" clId="{E6976C97-2060-8C46-9F3A-EAFB418BA348}" dt="2024-04-25T07:52:05.967" v="1368"/>
          <ac:spMkLst>
            <pc:docMk/>
            <pc:sldMk cId="217193527" sldId="308"/>
            <ac:spMk id="2" creationId="{632E2813-969E-AAAD-3C7C-2C1A14B7363A}"/>
          </ac:spMkLst>
        </pc:spChg>
      </pc:sldChg>
      <pc:sldChg chg="modSp mod">
        <pc:chgData name="Oehrli, Stefan" userId="3f36891e-f853-43e7-bcbc-2879a2513833" providerId="ADAL" clId="{E6976C97-2060-8C46-9F3A-EAFB418BA348}" dt="2024-04-23T09:09:21.956" v="124"/>
        <pc:sldMkLst>
          <pc:docMk/>
          <pc:sldMk cId="3447450657" sldId="344"/>
        </pc:sldMkLst>
        <pc:spChg chg="mod">
          <ac:chgData name="Oehrli, Stefan" userId="3f36891e-f853-43e7-bcbc-2879a2513833" providerId="ADAL" clId="{E6976C97-2060-8C46-9F3A-EAFB418BA348}" dt="2024-04-23T09:09:21.956" v="124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E6976C97-2060-8C46-9F3A-EAFB418BA348}" dt="2024-04-23T09:08:53.837" v="88" actId="20577"/>
          <ac:spMkLst>
            <pc:docMk/>
            <pc:sldMk cId="3447450657" sldId="344"/>
            <ac:spMk id="3" creationId="{71629877-83F9-C3AD-1532-9D122387E409}"/>
          </ac:spMkLst>
        </pc:spChg>
      </pc:sldChg>
      <pc:sldChg chg="del">
        <pc:chgData name="Oehrli, Stefan" userId="3f36891e-f853-43e7-bcbc-2879a2513833" providerId="ADAL" clId="{E6976C97-2060-8C46-9F3A-EAFB418BA348}" dt="2024-04-23T08:13:45.425" v="78" actId="2696"/>
        <pc:sldMkLst>
          <pc:docMk/>
          <pc:sldMk cId="2239675501" sldId="2147138090"/>
        </pc:sldMkLst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41462360" sldId="2147138091"/>
        </pc:sldMkLst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6" creationId="{4D3A3F73-ABFD-0E9F-AF7F-3208152178B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7" creationId="{762E0E26-569F-90A5-618E-E911913B727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8" creationId="{28AD319D-D9CC-C651-F145-A751D10AC2E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0" creationId="{2F583B6A-C013-9DCE-4707-B78B4C2B5D9C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1" creationId="{6241594B-ABA2-DA80-3BFF-2C3554422283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2" creationId="{1F8F2DA7-1F29-1A77-B265-EDDB1244731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3" creationId="{96215404-7E90-DED9-C946-D70FBE506152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4" creationId="{574F81E6-B613-9DD0-E28E-1932930C8438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5" creationId="{3F4F41D3-60FC-AB33-FC9C-BD75EDB18E36}"/>
          </ac:spMkLst>
        </pc:spChg>
        <pc:spChg chg="mod">
          <ac:chgData name="Oehrli, Stefan" userId="3f36891e-f853-43e7-bcbc-2879a2513833" providerId="ADAL" clId="{E6976C97-2060-8C46-9F3A-EAFB418BA348}" dt="2024-04-23T08:10:33.131" v="39" actId="20577"/>
          <ac:spMkLst>
            <pc:docMk/>
            <pc:sldMk cId="2241462360" sldId="2147138091"/>
            <ac:spMk id="17" creationId="{0EB2A3E7-FA19-C093-52DD-22855C4C3CAA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1" creationId="{F6FAE0B8-1014-2959-9803-3BE200AAD638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2" creationId="{3B04D1A6-A8A8-B21F-DCBA-A874C009200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3" creationId="{794FCA43-8DCB-8D5D-A840-A0C372A37E8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5" creationId="{9E09B3D6-68D3-4625-3879-638801586451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6" creationId="{BC837DD7-E529-D7D4-B720-0BE9B88793D9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7" creationId="{F93ED3C9-408F-9F9A-6C24-09E85D284B5B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8" creationId="{6A3E7BB3-E6D0-4728-4C11-4FD5847703D4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3" creationId="{4B776AD4-07CA-2F71-90F1-AD8750861D53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6" creationId="{723F06DB-8A4E-72A8-F2B3-1B0260ED9F9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0" creationId="{2F79E84A-F8F1-F320-9F99-8460024C83FF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1" creationId="{0428C4AA-3DC1-C788-99F9-DE74D951FC62}"/>
          </ac:spMkLst>
        </pc:s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5" creationId="{0ED0B158-9444-370F-BB5D-16E6C85FEC08}"/>
          </ac:grpSpMkLst>
        </pc:gr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9" creationId="{E689E83D-A7E8-48B9-BFB0-FB838D123875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16" creationId="{41CFAB29-83AB-BB4E-3827-1DD384EC7236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24" creationId="{9ADF6806-5DBE-6864-62D3-A832282A8622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37" creationId="{98171000-07B5-D604-3B1D-D17E2FF369C0}"/>
          </ac:grpSpMkLst>
        </pc:grpChg>
        <pc:picChg chg="mod">
          <ac:chgData name="Oehrli, Stefan" userId="3f36891e-f853-43e7-bcbc-2879a2513833" providerId="ADAL" clId="{E6976C97-2060-8C46-9F3A-EAFB418BA348}" dt="2024-04-23T08:09:25.865" v="34" actId="1076"/>
          <ac:picMkLst>
            <pc:docMk/>
            <pc:sldMk cId="2241462360" sldId="2147138091"/>
            <ac:picMk id="3" creationId="{EA690C77-120F-E5E0-063D-D1ABCE284564}"/>
          </ac:picMkLst>
        </pc:picChg>
        <pc:picChg chg="add mod">
          <ac:chgData name="Oehrli, Stefan" userId="3f36891e-f853-43e7-bcbc-2879a2513833" providerId="ADAL" clId="{E6976C97-2060-8C46-9F3A-EAFB418BA348}" dt="2024-04-23T08:12:35.781" v="59" actId="1076"/>
          <ac:picMkLst>
            <pc:docMk/>
            <pc:sldMk cId="2241462360" sldId="2147138091"/>
            <ac:picMk id="4" creationId="{BDA661E5-2CB1-4379-3D9C-82BF4C5BC6E7}"/>
          </ac:picMkLst>
        </pc:picChg>
        <pc:picChg chg="mod">
          <ac:chgData name="Oehrli, Stefan" userId="3f36891e-f853-43e7-bcbc-2879a2513833" providerId="ADAL" clId="{E6976C97-2060-8C46-9F3A-EAFB418BA348}" dt="2024-04-24T11:47:18.447" v="1335" actId="1076"/>
          <ac:picMkLst>
            <pc:docMk/>
            <pc:sldMk cId="2241462360" sldId="2147138091"/>
            <ac:picMk id="34" creationId="{C3B20B5A-1BFC-13EB-9061-96EF4F5F5183}"/>
          </ac:picMkLst>
        </pc:picChg>
        <pc:picChg chg="mod">
          <ac:chgData name="Oehrli, Stefan" userId="3f36891e-f853-43e7-bcbc-2879a2513833" providerId="ADAL" clId="{E6976C97-2060-8C46-9F3A-EAFB418BA348}" dt="2024-04-23T08:12:34.198" v="58" actId="1076"/>
          <ac:picMkLst>
            <pc:docMk/>
            <pc:sldMk cId="2241462360" sldId="2147138091"/>
            <ac:picMk id="35" creationId="{73ABD427-27CE-C838-0454-7938396B4941}"/>
          </ac:picMkLst>
        </pc:picChg>
        <pc:picChg chg="add mod">
          <ac:chgData name="Oehrli, Stefan" userId="3f36891e-f853-43e7-bcbc-2879a2513833" providerId="ADAL" clId="{E6976C97-2060-8C46-9F3A-EAFB418BA348}" dt="2024-04-24T11:47:22.714" v="1336" actId="1076"/>
          <ac:picMkLst>
            <pc:docMk/>
            <pc:sldMk cId="2241462360" sldId="2147138091"/>
            <ac:picMk id="39" creationId="{F008A5C9-0680-8150-43AA-CC938A873B9D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1940722524" sldId="2147138093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2" creationId="{1D95CD04-2E72-94CA-1695-06D2661124D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6" creationId="{AE12DF74-6875-4776-5A5E-AB6D2EE0A121}"/>
          </ac:spMkLst>
        </pc:spChg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29416787" sldId="2147138095"/>
        </pc:sldMkLst>
        <pc:spChg chg="mod">
          <ac:chgData name="Oehrli, Stefan" userId="3f36891e-f853-43e7-bcbc-2879a2513833" providerId="ADAL" clId="{E6976C97-2060-8C46-9F3A-EAFB418BA348}" dt="2024-04-24T10:39:11.911" v="1323"/>
          <ac:spMkLst>
            <pc:docMk/>
            <pc:sldMk cId="2229416787" sldId="2147138095"/>
            <ac:spMk id="2" creationId="{FB74AED1-4003-E9C6-8D3B-2D77752399C3}"/>
          </ac:spMkLst>
        </pc:spChg>
        <pc:spChg chg="mod">
          <ac:chgData name="Oehrli, Stefan" userId="3f36891e-f853-43e7-bcbc-2879a2513833" providerId="ADAL" clId="{E6976C97-2060-8C46-9F3A-EAFB418BA348}" dt="2024-04-24T10:37:55.341" v="1273" actId="20577"/>
          <ac:spMkLst>
            <pc:docMk/>
            <pc:sldMk cId="2229416787" sldId="2147138095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4T11:46:50.299" v="1330"/>
          <ac:spMkLst>
            <pc:docMk/>
            <pc:sldMk cId="2229416787" sldId="2147138095"/>
            <ac:spMk id="6" creationId="{E96460D5-755C-CF0E-3441-6B7B412A5B6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7" creationId="{835C1A82-2C06-99A6-0802-3BB1028C7131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8" creationId="{43D8C4E2-F175-9457-3861-81B5C2EC5631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058612435" sldId="2147138096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6" creationId="{D2213CD2-223F-1E87-47F3-C33BBE22875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7" creationId="{81C13459-FC72-2B7A-68FE-89D706478147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79875072" sldId="2147138097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5" creationId="{35F63FB1-7ED9-49A4-D640-816577B91267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8" creationId="{81D6E3C4-425D-B7C7-E57B-EC5C9D274F63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474791128" sldId="2147138098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6" creationId="{17290F91-E7D7-37A9-5D26-DC201AF53D93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7" creationId="{583CCA56-8178-0A2B-744D-5C814291B3A1}"/>
          </ac:spMkLst>
        </pc:spChg>
      </pc:sldChg>
      <pc:sldChg chg="addSp delSp mod addAnim delAnim modShow">
        <pc:chgData name="Oehrli, Stefan" userId="3f36891e-f853-43e7-bcbc-2879a2513833" providerId="ADAL" clId="{E6976C97-2060-8C46-9F3A-EAFB418BA348}" dt="2024-04-25T09:20:26.110" v="1371" actId="729"/>
        <pc:sldMkLst>
          <pc:docMk/>
          <pc:sldMk cId="3843352936" sldId="2147138100"/>
        </pc:sldMkLst>
        <pc:picChg chg="add del">
          <ac:chgData name="Oehrli, Stefan" userId="3f36891e-f853-43e7-bcbc-2879a2513833" providerId="ADAL" clId="{E6976C97-2060-8C46-9F3A-EAFB418BA348}" dt="2024-04-23T09:37:13.218" v="405" actId="478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modSp">
        <pc:chgData name="Oehrli, Stefan" userId="3f36891e-f853-43e7-bcbc-2879a2513833" providerId="ADAL" clId="{E6976C97-2060-8C46-9F3A-EAFB418BA348}" dt="2024-04-24T12:16:56.857" v="1337" actId="790"/>
        <pc:sldMkLst>
          <pc:docMk/>
          <pc:sldMk cId="288964143" sldId="2147138101"/>
        </pc:sldMkLst>
        <pc:spChg chg="mod">
          <ac:chgData name="Oehrli, Stefan" userId="3f36891e-f853-43e7-bcbc-2879a2513833" providerId="ADAL" clId="{E6976C97-2060-8C46-9F3A-EAFB418BA348}" dt="2024-04-24T12:16:56.857" v="1337" actId="790"/>
          <ac:spMkLst>
            <pc:docMk/>
            <pc:sldMk cId="288964143" sldId="2147138101"/>
            <ac:spMk id="8" creationId="{5EE79F3A-A0A9-701D-5D8B-7F8B130B5732}"/>
          </ac:spMkLst>
        </pc:spChg>
      </pc:sldChg>
      <pc:sldChg chg="modSp">
        <pc:chgData name="Oehrli, Stefan" userId="3f36891e-f853-43e7-bcbc-2879a2513833" providerId="ADAL" clId="{E6976C97-2060-8C46-9F3A-EAFB418BA348}" dt="2024-04-24T10:36:25.922" v="1268" actId="20577"/>
        <pc:sldMkLst>
          <pc:docMk/>
          <pc:sldMk cId="3368936083" sldId="2147138109"/>
        </pc:sldMkLst>
        <pc:spChg chg="mod">
          <ac:chgData name="Oehrli, Stefan" userId="3f36891e-f853-43e7-bcbc-2879a2513833" providerId="ADAL" clId="{E6976C97-2060-8C46-9F3A-EAFB418BA348}" dt="2024-04-24T10:36:25.922" v="1268" actId="20577"/>
          <ac:spMkLst>
            <pc:docMk/>
            <pc:sldMk cId="3368936083" sldId="2147138109"/>
            <ac:spMk id="3" creationId="{9C018C55-05F7-440F-D0D1-4C23FD52D6AF}"/>
          </ac:spMkLst>
        </pc:spChg>
      </pc:sldChg>
      <pc:sldChg chg="modSp mod">
        <pc:chgData name="Oehrli, Stefan" userId="3f36891e-f853-43e7-bcbc-2879a2513833" providerId="ADAL" clId="{E6976C97-2060-8C46-9F3A-EAFB418BA348}" dt="2024-04-23T14:02:31.592" v="863" actId="20577"/>
        <pc:sldMkLst>
          <pc:docMk/>
          <pc:sldMk cId="4159375980" sldId="2147138110"/>
        </pc:sldMkLst>
        <pc:spChg chg="mod">
          <ac:chgData name="Oehrli, Stefan" userId="3f36891e-f853-43e7-bcbc-2879a2513833" providerId="ADAL" clId="{E6976C97-2060-8C46-9F3A-EAFB418BA348}" dt="2024-04-23T14:02:31.592" v="863" actId="20577"/>
          <ac:spMkLst>
            <pc:docMk/>
            <pc:sldMk cId="4159375980" sldId="2147138110"/>
            <ac:spMk id="9" creationId="{2033E105-22FF-3F94-15F0-366E8E86D770}"/>
          </ac:spMkLst>
        </pc:spChg>
      </pc:sldChg>
      <pc:sldChg chg="addSp delSp modSp mod">
        <pc:chgData name="Oehrli, Stefan" userId="3f36891e-f853-43e7-bcbc-2879a2513833" providerId="ADAL" clId="{E6976C97-2060-8C46-9F3A-EAFB418BA348}" dt="2024-04-23T14:26:40.180" v="1085" actId="14100"/>
        <pc:sldMkLst>
          <pc:docMk/>
          <pc:sldMk cId="2826333923" sldId="2147138119"/>
        </pc:sldMkLst>
        <pc:spChg chg="add del mod">
          <ac:chgData name="Oehrli, Stefan" userId="3f36891e-f853-43e7-bcbc-2879a2513833" providerId="ADAL" clId="{E6976C97-2060-8C46-9F3A-EAFB418BA348}" dt="2024-04-23T14:26:23.306" v="1081"/>
          <ac:spMkLst>
            <pc:docMk/>
            <pc:sldMk cId="2826333923" sldId="2147138119"/>
            <ac:spMk id="3" creationId="{000E3A59-48F8-D476-7E62-B8063DF294FC}"/>
          </ac:spMkLst>
        </pc:spChg>
        <pc:spChg chg="add del mod">
          <ac:chgData name="Oehrli, Stefan" userId="3f36891e-f853-43e7-bcbc-2879a2513833" providerId="ADAL" clId="{E6976C97-2060-8C46-9F3A-EAFB418BA348}" dt="2024-04-23T14:26:35.835" v="1083"/>
          <ac:spMkLst>
            <pc:docMk/>
            <pc:sldMk cId="2826333923" sldId="2147138119"/>
            <ac:spMk id="8" creationId="{283AE6A0-6130-F942-E7F6-150400E8D992}"/>
          </ac:spMkLst>
        </pc:spChg>
        <pc:picChg chg="add del mod">
          <ac:chgData name="Oehrli, Stefan" userId="3f36891e-f853-43e7-bcbc-2879a2513833" providerId="ADAL" clId="{E6976C97-2060-8C46-9F3A-EAFB418BA348}" dt="2024-04-23T14:26:34.815" v="1082" actId="478"/>
          <ac:picMkLst>
            <pc:docMk/>
            <pc:sldMk cId="2826333923" sldId="2147138119"/>
            <ac:picMk id="4" creationId="{67022554-A129-6EC5-21DE-1911F948BD31}"/>
          </ac:picMkLst>
        </pc:picChg>
        <pc:picChg chg="add mod">
          <ac:chgData name="Oehrli, Stefan" userId="3f36891e-f853-43e7-bcbc-2879a2513833" providerId="ADAL" clId="{E6976C97-2060-8C46-9F3A-EAFB418BA348}" dt="2024-04-23T14:26:40.180" v="1085" actId="14100"/>
          <ac:picMkLst>
            <pc:docMk/>
            <pc:sldMk cId="2826333923" sldId="2147138119"/>
            <ac:picMk id="9" creationId="{EDFE5C45-D888-C4E6-8730-0B50FED24CAD}"/>
          </ac:picMkLst>
        </pc:picChg>
        <pc:picChg chg="del">
          <ac:chgData name="Oehrli, Stefan" userId="3f36891e-f853-43e7-bcbc-2879a2513833" providerId="ADAL" clId="{E6976C97-2060-8C46-9F3A-EAFB418BA348}" dt="2024-04-23T14:26:07.289" v="1080" actId="478"/>
          <ac:picMkLst>
            <pc:docMk/>
            <pc:sldMk cId="2826333923" sldId="2147138119"/>
            <ac:picMk id="14" creationId="{5DDB58A2-B3C7-10E5-2E6A-227AB4475995}"/>
          </ac:picMkLst>
        </pc:picChg>
      </pc:sldChg>
      <pc:sldChg chg="modSp mod">
        <pc:chgData name="Oehrli, Stefan" userId="3f36891e-f853-43e7-bcbc-2879a2513833" providerId="ADAL" clId="{E6976C97-2060-8C46-9F3A-EAFB418BA348}" dt="2024-04-24T10:35:39.038" v="1267" actId="1076"/>
        <pc:sldMkLst>
          <pc:docMk/>
          <pc:sldMk cId="666160610" sldId="2147138121"/>
        </pc:sldMkLst>
        <pc:spChg chg="mod">
          <ac:chgData name="Oehrli, Stefan" userId="3f36891e-f853-43e7-bcbc-2879a2513833" providerId="ADAL" clId="{E6976C97-2060-8C46-9F3A-EAFB418BA348}" dt="2024-04-23T09:10:41.848" v="207" actId="20577"/>
          <ac:spMkLst>
            <pc:docMk/>
            <pc:sldMk cId="666160610" sldId="2147138121"/>
            <ac:spMk id="8" creationId="{7B7C21A9-BA8E-8035-8AF7-8D125C866046}"/>
          </ac:spMkLst>
        </pc:spChg>
        <pc:picChg chg="mod">
          <ac:chgData name="Oehrli, Stefan" userId="3f36891e-f853-43e7-bcbc-2879a2513833" providerId="ADAL" clId="{E6976C97-2060-8C46-9F3A-EAFB418BA348}" dt="2024-04-24T10:35:39.038" v="1267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modSp mod">
        <pc:chgData name="Oehrli, Stefan" userId="3f36891e-f853-43e7-bcbc-2879a2513833" providerId="ADAL" clId="{E6976C97-2060-8C46-9F3A-EAFB418BA348}" dt="2024-04-23T09:41:34.396" v="452" actId="14100"/>
        <pc:sldMkLst>
          <pc:docMk/>
          <pc:sldMk cId="608967408" sldId="2147138183"/>
        </pc:sldMkLst>
        <pc:spChg chg="mod">
          <ac:chgData name="Oehrli, Stefan" userId="3f36891e-f853-43e7-bcbc-2879a2513833" providerId="ADAL" clId="{E6976C97-2060-8C46-9F3A-EAFB418BA348}" dt="2024-04-23T09:41:34.396" v="452" actId="14100"/>
          <ac:spMkLst>
            <pc:docMk/>
            <pc:sldMk cId="608967408" sldId="2147138183"/>
            <ac:spMk id="8" creationId="{F722C1A2-8CB2-3FD8-BDA6-16F5D4E58EC0}"/>
          </ac:spMkLst>
        </pc:spChg>
      </pc:sldChg>
      <pc:sldChg chg="modSp mod">
        <pc:chgData name="Oehrli, Stefan" userId="3f36891e-f853-43e7-bcbc-2879a2513833" providerId="ADAL" clId="{E6976C97-2060-8C46-9F3A-EAFB418BA348}" dt="2024-04-23T09:41:46.060" v="458" actId="1076"/>
        <pc:sldMkLst>
          <pc:docMk/>
          <pc:sldMk cId="359752795" sldId="2147138185"/>
        </pc:sldMkLst>
        <pc:spChg chg="mod">
          <ac:chgData name="Oehrli, Stefan" userId="3f36891e-f853-43e7-bcbc-2879a2513833" providerId="ADAL" clId="{E6976C97-2060-8C46-9F3A-EAFB418BA348}" dt="2024-04-23T09:41:27.579" v="447" actId="20577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E6976C97-2060-8C46-9F3A-EAFB418BA348}" dt="2024-04-23T09:41:46.060" v="458" actId="1076"/>
          <ac:spMkLst>
            <pc:docMk/>
            <pc:sldMk cId="359752795" sldId="2147138185"/>
            <ac:spMk id="8" creationId="{FEEC9AB0-CCA6-525D-E878-7FA4B450EEC4}"/>
          </ac:spMkLst>
        </pc:spChg>
      </pc:sldChg>
      <pc:sldChg chg="modSp mod">
        <pc:chgData name="Oehrli, Stefan" userId="3f36891e-f853-43e7-bcbc-2879a2513833" providerId="ADAL" clId="{E6976C97-2060-8C46-9F3A-EAFB418BA348}" dt="2024-04-23T09:12:15.261" v="209" actId="1076"/>
        <pc:sldMkLst>
          <pc:docMk/>
          <pc:sldMk cId="47853685" sldId="2147138186"/>
        </pc:sldMkLst>
        <pc:picChg chg="mod">
          <ac:chgData name="Oehrli, Stefan" userId="3f36891e-f853-43e7-bcbc-2879a2513833" providerId="ADAL" clId="{E6976C97-2060-8C46-9F3A-EAFB418BA348}" dt="2024-04-23T09:12:15.261" v="209" actId="1076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modSp mod modAnim">
        <pc:chgData name="Oehrli, Stefan" userId="3f36891e-f853-43e7-bcbc-2879a2513833" providerId="ADAL" clId="{E6976C97-2060-8C46-9F3A-EAFB418BA348}" dt="2024-05-06T03:54:02.785" v="1427" actId="404"/>
        <pc:sldMkLst>
          <pc:docMk/>
          <pc:sldMk cId="3736502658" sldId="2147138187"/>
        </pc:sldMkLst>
        <pc:spChg chg="mod">
          <ac:chgData name="Oehrli, Stefan" userId="3f36891e-f853-43e7-bcbc-2879a2513833" providerId="ADAL" clId="{E6976C97-2060-8C46-9F3A-EAFB418BA348}" dt="2024-05-06T03:54:02.785" v="1427" actId="404"/>
          <ac:spMkLst>
            <pc:docMk/>
            <pc:sldMk cId="3736502658" sldId="2147138187"/>
            <ac:spMk id="3" creationId="{7345E89E-1AF6-0EEE-F052-FE458C10D639}"/>
          </ac:spMkLst>
        </pc:spChg>
        <pc:picChg chg="mod">
          <ac:chgData name="Oehrli, Stefan" userId="3f36891e-f853-43e7-bcbc-2879a2513833" providerId="ADAL" clId="{E6976C97-2060-8C46-9F3A-EAFB418BA348}" dt="2024-04-25T07:31:05.420" v="1354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mod modAnim">
        <pc:chgData name="Oehrli, Stefan" userId="3f36891e-f853-43e7-bcbc-2879a2513833" providerId="ADAL" clId="{E6976C97-2060-8C46-9F3A-EAFB418BA348}" dt="2024-05-06T04:02:03.380" v="1672"/>
        <pc:sldMkLst>
          <pc:docMk/>
          <pc:sldMk cId="529553536" sldId="2147138188"/>
        </pc:sldMkLst>
        <pc:spChg chg="mod">
          <ac:chgData name="Oehrli, Stefan" userId="3f36891e-f853-43e7-bcbc-2879a2513833" providerId="ADAL" clId="{E6976C97-2060-8C46-9F3A-EAFB418BA348}" dt="2024-05-06T04:02:03.380" v="1672"/>
          <ac:spMkLst>
            <pc:docMk/>
            <pc:sldMk cId="529553536" sldId="2147138188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6" creationId="{78A8C85F-5626-67F6-251F-13364884026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7" creationId="{944FE559-6B7D-4DE5-228C-47E096929592}"/>
          </ac:spMkLst>
        </pc:spChg>
        <pc:picChg chg="mod">
          <ac:chgData name="Oehrli, Stefan" userId="3f36891e-f853-43e7-bcbc-2879a2513833" providerId="ADAL" clId="{E6976C97-2060-8C46-9F3A-EAFB418BA348}" dt="2024-05-06T03:59:13.844" v="162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307806032" sldId="2147138189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2" creationId="{5DB083CE-42FF-B16C-133D-ED4EABC90FE5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6" creationId="{46B4C97E-7ECE-6CEB-EE46-6B02B9EE22AA}"/>
          </ac:spMkLst>
        </pc:spChg>
      </pc:sldChg>
      <pc:sldChg chg="addSp modSp mod">
        <pc:chgData name="Oehrli, Stefan" userId="3f36891e-f853-43e7-bcbc-2879a2513833" providerId="ADAL" clId="{E6976C97-2060-8C46-9F3A-EAFB418BA348}" dt="2024-05-06T04:00:10.508" v="1671" actId="20577"/>
        <pc:sldMkLst>
          <pc:docMk/>
          <pc:sldMk cId="2582172254" sldId="2147138190"/>
        </pc:sldMkLst>
        <pc:spChg chg="mod">
          <ac:chgData name="Oehrli, Stefan" userId="3f36891e-f853-43e7-bcbc-2879a2513833" providerId="ADAL" clId="{E6976C97-2060-8C46-9F3A-EAFB418BA348}" dt="2024-05-06T04:00:10.508" v="1671" actId="20577"/>
          <ac:spMkLst>
            <pc:docMk/>
            <pc:sldMk cId="2582172254" sldId="2147138190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6" creationId="{86A8954B-FF95-767D-16CB-B21B3697408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7" creationId="{2A5E0A26-819B-2A38-9595-90DD7C7D61C3}"/>
          </ac:spMkLst>
        </pc:spChg>
      </pc:sldChg>
      <pc:sldChg chg="addSp delSp modSp del mod modClrScheme chgLayout">
        <pc:chgData name="Oehrli, Stefan" userId="3f36891e-f853-43e7-bcbc-2879a2513833" providerId="ADAL" clId="{E6976C97-2060-8C46-9F3A-EAFB418BA348}" dt="2024-04-25T07:32:02.870" v="1355" actId="2696"/>
        <pc:sldMkLst>
          <pc:docMk/>
          <pc:sldMk cId="354290953" sldId="2147138193"/>
        </pc:sldMkLst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2" creationId="{42999F29-3E35-9B4C-A501-61B5364B888D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4" creationId="{C0E159C0-DDC6-060B-9E85-4842008AFAF6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5" creationId="{425700E5-E8D3-C4DC-DC24-E8F8452EFD13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6" creationId="{51E811E9-FE9E-A201-2FC9-4DE62FF66868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7" creationId="{C103DB0E-9CBB-1238-0235-D395009C4904}"/>
          </ac:spMkLst>
        </pc:spChg>
        <pc:spChg chg="del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8" creationId="{1F5DFDF8-A6DB-7ABE-DF74-401BC979AD5B}"/>
          </ac:spMkLst>
        </pc:spChg>
        <pc:spChg chg="add mod ord">
          <ac:chgData name="Oehrli, Stefan" userId="3f36891e-f853-43e7-bcbc-2879a2513833" providerId="ADAL" clId="{E6976C97-2060-8C46-9F3A-EAFB418BA348}" dt="2024-04-23T14:34:10.538" v="1263" actId="20577"/>
          <ac:spMkLst>
            <pc:docMk/>
            <pc:sldMk cId="354290953" sldId="2147138193"/>
            <ac:spMk id="9" creationId="{FBD96851-6005-03F5-3EDF-B1B1F37DFAAF}"/>
          </ac:spMkLst>
        </pc:spChg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10" creationId="{6EFDB57F-5728-2AC6-67D3-89A50C7B0088}"/>
          </ac:spMkLst>
        </pc:spChg>
      </pc:sldChg>
      <pc:sldChg chg="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007215444" sldId="2147138194"/>
        </pc:sldMkLst>
      </pc:sldChg>
      <pc:sldChg chg="addSp modSp add mod">
        <pc:chgData name="Oehrli, Stefan" userId="3f36891e-f853-43e7-bcbc-2879a2513833" providerId="ADAL" clId="{E6976C97-2060-8C46-9F3A-EAFB418BA348}" dt="2024-04-25T07:52:05.967" v="1368"/>
        <pc:sldMkLst>
          <pc:docMk/>
          <pc:sldMk cId="3255326133" sldId="2147138195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4" creationId="{8F194001-0E39-FED6-2BAC-7837A930F90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5" creationId="{CF6CBAE3-9293-0AD3-C8A9-107BFC6E5089}"/>
          </ac:spMkLst>
        </pc:spChg>
        <pc:spChg chg="mod">
          <ac:chgData name="Oehrli, Stefan" userId="3f36891e-f853-43e7-bcbc-2879a2513833" providerId="ADAL" clId="{E6976C97-2060-8C46-9F3A-EAFB418BA348}" dt="2024-04-23T08:13:38.308" v="77" actId="1036"/>
          <ac:spMkLst>
            <pc:docMk/>
            <pc:sldMk cId="3255326133" sldId="2147138195"/>
            <ac:spMk id="15" creationId="{C33D7343-3A22-4022-A7E9-7FFF163293CA}"/>
          </ac:spMkLst>
        </pc:spChg>
        <pc:spChg chg="mod">
          <ac:chgData name="Oehrli, Stefan" userId="3f36891e-f853-43e7-bcbc-2879a2513833" providerId="ADAL" clId="{E6976C97-2060-8C46-9F3A-EAFB418BA348}" dt="2024-04-23T08:13:51.319" v="85" actId="1036"/>
          <ac:spMkLst>
            <pc:docMk/>
            <pc:sldMk cId="3255326133" sldId="2147138195"/>
            <ac:spMk id="20" creationId="{CD70640B-2E66-4E7A-A3D1-EDE2D07BCF48}"/>
          </ac:spMkLst>
        </pc:spChg>
      </pc:sldChg>
      <pc:sldChg chg="new 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520814761" sldId="2147138196"/>
        </pc:sldMkLst>
      </pc:sldChg>
      <pc:sldChg chg="delSp add mod delAnim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500466773" sldId="2147138197"/>
        </pc:sldMkLst>
        <pc:picChg chg="del">
          <ac:chgData name="Oehrli, Stefan" userId="3f36891e-f853-43e7-bcbc-2879a2513833" providerId="ADAL" clId="{E6976C97-2060-8C46-9F3A-EAFB418BA348}" dt="2024-04-23T09:37:22.499" v="409" actId="478"/>
          <ac:picMkLst>
            <pc:docMk/>
            <pc:sldMk cId="2500466773" sldId="2147138197"/>
            <ac:picMk id="11" creationId="{D877CA97-1685-A632-3CF6-9641F5B2E675}"/>
          </ac:picMkLst>
        </pc:picChg>
      </pc:sldChg>
      <pc:sldChg chg="addSp delSp modSp add del mod addAnim delAnim">
        <pc:chgData name="Oehrli, Stefan" userId="3f36891e-f853-43e7-bcbc-2879a2513833" providerId="ADAL" clId="{E6976C97-2060-8C46-9F3A-EAFB418BA348}" dt="2024-04-23T09:37:13.788" v="406" actId="2890"/>
        <pc:sldMkLst>
          <pc:docMk/>
          <pc:sldMk cId="3671199156" sldId="2147138197"/>
        </pc:sldMkLst>
        <pc:spChg chg="add del mod">
          <ac:chgData name="Oehrli, Stefan" userId="3f36891e-f853-43e7-bcbc-2879a2513833" providerId="ADAL" clId="{E6976C97-2060-8C46-9F3A-EAFB418BA348}" dt="2024-04-23T09:37:12.316" v="404" actId="478"/>
          <ac:spMkLst>
            <pc:docMk/>
            <pc:sldMk cId="3671199156" sldId="2147138197"/>
            <ac:spMk id="3" creationId="{5AA1E8DD-E51D-74BA-D095-913B4D81100B}"/>
          </ac:spMkLst>
        </pc:spChg>
        <pc:picChg chg="add del">
          <ac:chgData name="Oehrli, Stefan" userId="3f36891e-f853-43e7-bcbc-2879a2513833" providerId="ADAL" clId="{E6976C97-2060-8C46-9F3A-EAFB418BA348}" dt="2024-04-23T09:37:12.316" v="404" actId="478"/>
          <ac:picMkLst>
            <pc:docMk/>
            <pc:sldMk cId="3671199156" sldId="2147138197"/>
            <ac:picMk id="10" creationId="{ED412094-1908-3F9A-F9B9-E2C15AC731C5}"/>
          </ac:picMkLst>
        </pc:picChg>
        <pc:picChg chg="mod">
          <ac:chgData name="Oehrli, Stefan" userId="3f36891e-f853-43e7-bcbc-2879a2513833" providerId="ADAL" clId="{E6976C97-2060-8C46-9F3A-EAFB418BA348}" dt="2024-04-23T09:36:48.740" v="402" actId="166"/>
          <ac:picMkLst>
            <pc:docMk/>
            <pc:sldMk cId="3671199156" sldId="2147138197"/>
            <ac:picMk id="11" creationId="{D877CA97-1685-A632-3CF6-9641F5B2E675}"/>
          </ac:picMkLst>
        </pc:picChg>
      </pc:sldChg>
      <pc:sldChg chg="addSp delSp modSp add mod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326204635" sldId="2147138198"/>
        </pc:sldMkLst>
        <pc:spChg chg="add del mod">
          <ac:chgData name="Oehrli, Stefan" userId="3f36891e-f853-43e7-bcbc-2879a2513833" providerId="ADAL" clId="{E6976C97-2060-8C46-9F3A-EAFB418BA348}" dt="2024-04-23T09:37:49.896" v="417" actId="478"/>
          <ac:spMkLst>
            <pc:docMk/>
            <pc:sldMk cId="2326204635" sldId="2147138198"/>
            <ac:spMk id="3" creationId="{D093AF67-4C0C-1F62-04E5-E9FD663FAAD7}"/>
          </ac:spMkLst>
        </pc:spChg>
        <pc:picChg chg="del">
          <ac:chgData name="Oehrli, Stefan" userId="3f36891e-f853-43e7-bcbc-2879a2513833" providerId="ADAL" clId="{E6976C97-2060-8C46-9F3A-EAFB418BA348}" dt="2024-04-23T09:37:47.572" v="416" actId="478"/>
          <ac:picMkLst>
            <pc:docMk/>
            <pc:sldMk cId="2326204635" sldId="2147138198"/>
            <ac:picMk id="10" creationId="{ED412094-1908-3F9A-F9B9-E2C15AC731C5}"/>
          </ac:picMkLst>
        </pc:picChg>
        <pc:picChg chg="add del mod">
          <ac:chgData name="Oehrli, Stefan" userId="3f36891e-f853-43e7-bcbc-2879a2513833" providerId="ADAL" clId="{E6976C97-2060-8C46-9F3A-EAFB418BA348}" dt="2024-04-23T09:37:55.651" v="418" actId="166"/>
          <ac:picMkLst>
            <pc:docMk/>
            <pc:sldMk cId="2326204635" sldId="2147138198"/>
            <ac:picMk id="11" creationId="{D877CA97-1685-A632-3CF6-9641F5B2E675}"/>
          </ac:picMkLst>
        </pc:picChg>
      </pc:sldChg>
      <pc:sldChg chg="addSp delSp modSp new mod ord modClrScheme chgLayout">
        <pc:chgData name="Oehrli, Stefan" userId="3f36891e-f853-43e7-bcbc-2879a2513833" providerId="ADAL" clId="{E6976C97-2060-8C46-9F3A-EAFB418BA348}" dt="2024-04-23T14:00:16.745" v="834" actId="20577"/>
        <pc:sldMkLst>
          <pc:docMk/>
          <pc:sldMk cId="2101678055" sldId="2147138199"/>
        </pc:sldMkLst>
        <pc:spChg chg="mod ord">
          <ac:chgData name="Oehrli, Stefan" userId="3f36891e-f853-43e7-bcbc-2879a2513833" providerId="ADAL" clId="{E6976C97-2060-8C46-9F3A-EAFB418BA348}" dt="2024-04-23T14:00:09.201" v="830"/>
          <ac:spMkLst>
            <pc:docMk/>
            <pc:sldMk cId="2101678055" sldId="2147138199"/>
            <ac:spMk id="2" creationId="{DB31F098-2BB4-812D-24F4-875B62545590}"/>
          </ac:spMkLst>
        </pc:spChg>
        <pc:spChg chg="mod ord">
          <ac:chgData name="Oehrli, Stefan" userId="3f36891e-f853-43e7-bcbc-2879a2513833" providerId="ADAL" clId="{E6976C97-2060-8C46-9F3A-EAFB418BA348}" dt="2024-04-23T14:00:16.745" v="834" actId="20577"/>
          <ac:spMkLst>
            <pc:docMk/>
            <pc:sldMk cId="2101678055" sldId="2147138199"/>
            <ac:spMk id="3" creationId="{478534EA-B75E-1872-8F9D-4F11BB9F3029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4" creationId="{9EA972F4-BCC5-15B9-39B5-8E324FFBF5D2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5" creationId="{BA67CCA9-9E7B-F519-9683-7060FB6BE905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6" creationId="{3937EC73-E5C4-2D89-AF07-D084EEE152B3}"/>
          </ac:spMkLst>
        </pc:spChg>
        <pc:spChg chg="del mod ord">
          <ac:chgData name="Oehrli, Stefan" userId="3f36891e-f853-43e7-bcbc-2879a2513833" providerId="ADAL" clId="{E6976C97-2060-8C46-9F3A-EAFB418BA348}" dt="2024-04-23T13:59:52.754" v="826" actId="478"/>
          <ac:spMkLst>
            <pc:docMk/>
            <pc:sldMk cId="2101678055" sldId="2147138199"/>
            <ac:spMk id="7" creationId="{E26371B9-CF46-3663-FE65-58A6E419B0B7}"/>
          </ac:spMkLst>
        </pc:spChg>
        <pc:spChg chg="add del mod ord">
          <ac:chgData name="Oehrli, Stefan" userId="3f36891e-f853-43e7-bcbc-2879a2513833" providerId="ADAL" clId="{E6976C97-2060-8C46-9F3A-EAFB418BA348}" dt="2024-04-23T13:59:43.411" v="822" actId="478"/>
          <ac:spMkLst>
            <pc:docMk/>
            <pc:sldMk cId="2101678055" sldId="2147138199"/>
            <ac:spMk id="8" creationId="{D38C2A9E-C5B5-7F0B-EF43-A91D86D077CC}"/>
          </ac:spMkLst>
        </pc:spChg>
        <pc:spChg chg="add mod ord">
          <ac:chgData name="Oehrli, Stefan" userId="3f36891e-f853-43e7-bcbc-2879a2513833" providerId="ADAL" clId="{E6976C97-2060-8C46-9F3A-EAFB418BA348}" dt="2024-04-23T14:00:02.878" v="829" actId="14100"/>
          <ac:spMkLst>
            <pc:docMk/>
            <pc:sldMk cId="2101678055" sldId="2147138199"/>
            <ac:spMk id="9" creationId="{F557896F-6925-4B19-D106-ACD4FD6FA540}"/>
          </ac:spMkLst>
        </pc:spChg>
        <pc:spChg chg="add del mod">
          <ac:chgData name="Oehrli, Stefan" userId="3f36891e-f853-43e7-bcbc-2879a2513833" providerId="ADAL" clId="{E6976C97-2060-8C46-9F3A-EAFB418BA348}" dt="2024-04-23T13:59:46.229" v="823" actId="478"/>
          <ac:spMkLst>
            <pc:docMk/>
            <pc:sldMk cId="2101678055" sldId="2147138199"/>
            <ac:spMk id="11" creationId="{6B33DF3D-9E70-F4DF-E447-C0F66E6FAD1A}"/>
          </ac:spMkLst>
        </pc:spChg>
      </pc:sldChg>
      <pc:sldChg chg="addSp delSp modSp new mod modClrScheme chgLayout">
        <pc:chgData name="Oehrli, Stefan" userId="3f36891e-f853-43e7-bcbc-2879a2513833" providerId="ADAL" clId="{E6976C97-2060-8C46-9F3A-EAFB418BA348}" dt="2024-04-23T14:25:07.616" v="1077" actId="114"/>
        <pc:sldMkLst>
          <pc:docMk/>
          <pc:sldMk cId="1125153236" sldId="2147138200"/>
        </pc:sldMkLst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2" creationId="{1AC470ED-78D1-474B-20C5-28B9D4E6453B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3" creationId="{0D4B32B3-B0E7-7D3F-C619-A526A86F12F5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4" creationId="{91FD816C-BB24-3E3C-B97C-8C1502D02DAF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5" creationId="{F09E358F-338A-4E64-C3BF-E7A3070F09AA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6" creationId="{0C42D28D-851E-8729-BC7A-C54854DCEF9F}"/>
          </ac:spMkLst>
        </pc:spChg>
        <pc:spChg chg="del mo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7" creationId="{57A0203A-3A9D-DC79-662E-366CEB94F17C}"/>
          </ac:spMkLst>
        </pc:spChg>
        <pc:spChg chg="add mod ord">
          <ac:chgData name="Oehrli, Stefan" userId="3f36891e-f853-43e7-bcbc-2879a2513833" providerId="ADAL" clId="{E6976C97-2060-8C46-9F3A-EAFB418BA348}" dt="2024-04-23T14:19:27.399" v="1026" actId="20577"/>
          <ac:spMkLst>
            <pc:docMk/>
            <pc:sldMk cId="1125153236" sldId="2147138200"/>
            <ac:spMk id="8" creationId="{8869E05B-381A-F239-FD9F-1276999A25B3}"/>
          </ac:spMkLst>
        </pc:spChg>
        <pc:spChg chg="add del mod ord">
          <ac:chgData name="Oehrli, Stefan" userId="3f36891e-f853-43e7-bcbc-2879a2513833" providerId="ADAL" clId="{E6976C97-2060-8C46-9F3A-EAFB418BA348}" dt="2024-04-23T14:12:58.807" v="876" actId="3680"/>
          <ac:spMkLst>
            <pc:docMk/>
            <pc:sldMk cId="1125153236" sldId="2147138200"/>
            <ac:spMk id="9" creationId="{B73A2A35-9C68-B9B1-8475-EE407D2D529F}"/>
          </ac:spMkLst>
        </pc:spChg>
        <pc:spChg chg="add mod ord">
          <ac:chgData name="Oehrli, Stefan" userId="3f36891e-f853-43e7-bcbc-2879a2513833" providerId="ADAL" clId="{E6976C97-2060-8C46-9F3A-EAFB418BA348}" dt="2024-04-23T14:20:16.976" v="1027"/>
          <ac:spMkLst>
            <pc:docMk/>
            <pc:sldMk cId="1125153236" sldId="2147138200"/>
            <ac:spMk id="10" creationId="{25629252-61C1-6814-770B-95663B0AC3D0}"/>
          </ac:spMkLst>
        </pc:spChg>
        <pc:spChg chg="add mod">
          <ac:chgData name="Oehrli, Stefan" userId="3f36891e-f853-43e7-bcbc-2879a2513833" providerId="ADAL" clId="{E6976C97-2060-8C46-9F3A-EAFB418BA348}" dt="2024-04-23T14:25:07.616" v="1077" actId="114"/>
          <ac:spMkLst>
            <pc:docMk/>
            <pc:sldMk cId="1125153236" sldId="2147138200"/>
            <ac:spMk id="13" creationId="{C6BEBD63-243B-B92C-B20F-A1BBCE5241D1}"/>
          </ac:spMkLst>
        </pc:spChg>
        <pc:graphicFrameChg chg="add del mod ord modGraphic">
          <ac:chgData name="Oehrli, Stefan" userId="3f36891e-f853-43e7-bcbc-2879a2513833" providerId="ADAL" clId="{E6976C97-2060-8C46-9F3A-EAFB418BA348}" dt="2024-04-23T14:12:49.618" v="875" actId="3680"/>
          <ac:graphicFrameMkLst>
            <pc:docMk/>
            <pc:sldMk cId="1125153236" sldId="2147138200"/>
            <ac:graphicFrameMk id="11" creationId="{18F89489-7245-45E0-5FCA-8C2FAC96BD09}"/>
          </ac:graphicFrameMkLst>
        </pc:graphicFrameChg>
        <pc:graphicFrameChg chg="add mod ord modGraphic">
          <ac:chgData name="Oehrli, Stefan" userId="3f36891e-f853-43e7-bcbc-2879a2513833" providerId="ADAL" clId="{E6976C97-2060-8C46-9F3A-EAFB418BA348}" dt="2024-04-23T14:24:11.008" v="1059" actId="14100"/>
          <ac:graphicFrameMkLst>
            <pc:docMk/>
            <pc:sldMk cId="1125153236" sldId="2147138200"/>
            <ac:graphicFrameMk id="12" creationId="{27A28D25-8376-0042-E745-07F85BEEA568}"/>
          </ac:graphicFrameMkLst>
        </pc:graphicFrameChg>
      </pc:sldChg>
      <pc:sldChg chg="addSp delSp modSp new mod modClrScheme chgLayout">
        <pc:chgData name="Oehrli, Stefan" userId="3f36891e-f853-43e7-bcbc-2879a2513833" providerId="ADAL" clId="{E6976C97-2060-8C46-9F3A-EAFB418BA348}" dt="2024-04-23T14:33:53.515" v="1261" actId="14100"/>
        <pc:sldMkLst>
          <pc:docMk/>
          <pc:sldMk cId="2363004670" sldId="2147138201"/>
        </pc:sldMkLst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2" creationId="{734E9B7A-1720-76C7-7875-A6786DD3D299}"/>
          </ac:spMkLst>
        </pc:spChg>
        <pc:spChg chg="mod ord">
          <ac:chgData name="Oehrli, Stefan" userId="3f36891e-f853-43e7-bcbc-2879a2513833" providerId="ADAL" clId="{E6976C97-2060-8C46-9F3A-EAFB418BA348}" dt="2024-04-23T14:33:53.515" v="1261" actId="14100"/>
          <ac:spMkLst>
            <pc:docMk/>
            <pc:sldMk cId="2363004670" sldId="2147138201"/>
            <ac:spMk id="3" creationId="{996D2F5D-8248-5FB3-C041-B036C08D3B7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4" creationId="{9CD8E2B0-CDFC-5203-5EB1-352B85303E1F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5" creationId="{3FA49A9B-502B-90BE-AA15-72CF774D978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6" creationId="{8BF86A08-2693-82ED-14AF-2F999DFAA1B4}"/>
          </ac:spMkLst>
        </pc:spChg>
        <pc:spChg chg="del">
          <ac:chgData name="Oehrli, Stefan" userId="3f36891e-f853-43e7-bcbc-2879a2513833" providerId="ADAL" clId="{E6976C97-2060-8C46-9F3A-EAFB418BA348}" dt="2024-04-23T14:32:22.836" v="1249" actId="700"/>
          <ac:spMkLst>
            <pc:docMk/>
            <pc:sldMk cId="2363004670" sldId="2147138201"/>
            <ac:spMk id="7" creationId="{DCB32908-C2E0-FD5E-41AB-9FDE0D054E3F}"/>
          </ac:spMkLst>
        </pc:spChg>
        <pc:spChg chg="add del mod ord">
          <ac:chgData name="Oehrli, Stefan" userId="3f36891e-f853-43e7-bcbc-2879a2513833" providerId="ADAL" clId="{E6976C97-2060-8C46-9F3A-EAFB418BA348}" dt="2024-04-23T14:33:41.695" v="1256"/>
          <ac:spMkLst>
            <pc:docMk/>
            <pc:sldMk cId="2363004670" sldId="2147138201"/>
            <ac:spMk id="8" creationId="{005358AC-64B5-FEF3-FAE7-CF74788A45B2}"/>
          </ac:spMkLst>
        </pc:spChg>
        <pc:picChg chg="add mod">
          <ac:chgData name="Oehrli, Stefan" userId="3f36891e-f853-43e7-bcbc-2879a2513833" providerId="ADAL" clId="{E6976C97-2060-8C46-9F3A-EAFB418BA348}" dt="2024-04-23T14:33:49.632" v="1260" actId="1076"/>
          <ac:picMkLst>
            <pc:docMk/>
            <pc:sldMk cId="2363004670" sldId="2147138201"/>
            <ac:picMk id="9" creationId="{E8661E3D-8FFD-247A-E114-DF3D8F458F4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28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5694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6DB022-BF3C-DF40-8161-AB029396660E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048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endParaRPr lang="en-GB" b="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371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67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043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455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3608" userDrawn="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60501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300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55399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562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1964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98849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3729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5906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355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152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0055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2160" userDrawn="1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0008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131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Agenda title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87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85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9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445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 userDrawn="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Place text here 20pt</a:t>
            </a:r>
          </a:p>
          <a:p>
            <a:pPr lvl="1"/>
            <a:r>
              <a:rPr lang="en-US" dirty="0"/>
              <a:t>Second level 20pt</a:t>
            </a:r>
          </a:p>
          <a:p>
            <a:pPr lvl="2"/>
            <a:r>
              <a:rPr lang="en-US" dirty="0"/>
              <a:t>Third level 20pt</a:t>
            </a:r>
          </a:p>
          <a:p>
            <a:pPr lvl="3"/>
            <a:r>
              <a:rPr lang="en-US" dirty="0"/>
              <a:t>Fourth level 18pt</a:t>
            </a:r>
          </a:p>
          <a:p>
            <a:pPr lvl="4"/>
            <a:r>
              <a:rPr lang="en-US" dirty="0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85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 userDrawn="1">
          <p15:clr>
            <a:srgbClr val="C35E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420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974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45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0882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09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97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126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86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034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028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Place text here, use indent to access other levels 20pt</a:t>
            </a:r>
          </a:p>
          <a:p>
            <a:pPr lvl="1"/>
            <a:r>
              <a:rPr lang="en-GB" dirty="0"/>
              <a:t>Second level 20pt</a:t>
            </a:r>
          </a:p>
          <a:p>
            <a:pPr lvl="2"/>
            <a:r>
              <a:rPr lang="en-GB" dirty="0"/>
              <a:t>Third level 20pt</a:t>
            </a:r>
          </a:p>
          <a:p>
            <a:pPr lvl="3"/>
            <a:r>
              <a:rPr lang="en-GB" dirty="0"/>
              <a:t>Fourth level 18pt</a:t>
            </a:r>
          </a:p>
          <a:p>
            <a:pPr lvl="4"/>
            <a:r>
              <a:rPr lang="en-GB" dirty="0"/>
              <a:t>Fifth level 18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19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Drag picture to placeholder or click icon to add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181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180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11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861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445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01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</a:t>
            </a:r>
          </a:p>
          <a:p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Drag picture to placeholder </a:t>
            </a:r>
          </a:p>
          <a:p>
            <a:pPr marL="228600" lvl="0" indent="-228600" algn="ctr"/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206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365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137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234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2 Code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949194"/>
            <a:ext cx="11430000" cy="75336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8BEB1BF3-EEE7-8D9D-25CC-FC78B72221A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4152945"/>
            <a:ext cx="11430000" cy="75336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DED8136E-F029-DB5C-83C1-7E5F1E6D899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1000" y="2769438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spcAft>
                <a:spcPts val="0"/>
              </a:spcAft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8439BD9C-C264-04B6-8009-73443EFDFA5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1000" y="4962569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spcAft>
                <a:spcPts val="0"/>
              </a:spcAft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</p:spTree>
    <p:extLst>
      <p:ext uri="{BB962C8B-B14F-4D97-AF65-F5344CB8AC3E}">
        <p14:creationId xmlns:p14="http://schemas.microsoft.com/office/powerpoint/2010/main" val="415616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06091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1 Code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0999" y="1955037"/>
            <a:ext cx="11430000" cy="29479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8E9C4C32-3E52-6232-24FD-F6D8737A920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1000" y="4962569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</p:spTree>
    <p:extLst>
      <p:ext uri="{BB962C8B-B14F-4D97-AF65-F5344CB8AC3E}">
        <p14:creationId xmlns:p14="http://schemas.microsoft.com/office/powerpoint/2010/main" val="727875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igh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Tag">
            <a:extLst>
              <a:ext uri="{FF2B5EF4-FFF2-40B4-BE49-F238E27FC236}">
                <a16:creationId xmlns:a16="http://schemas.microsoft.com/office/drawing/2014/main" id="{0F682282-A332-4D5C-89F4-38480EC3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pic>
        <p:nvPicPr>
          <p:cNvPr id="10" name="OTag">
            <a:extLst>
              <a:ext uri="{FF2B5EF4-FFF2-40B4-BE49-F238E27FC236}">
                <a16:creationId xmlns:a16="http://schemas.microsoft.com/office/drawing/2014/main" id="{00F1077A-D301-437A-8CE7-A0EA6CDECB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E29D2F-E9BE-442D-8048-30D82B0FA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49E66D-873C-4E3D-B665-952DA3AD6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4 Accenture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2D4C26-D77F-4F76-BA95-32055FEC6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11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348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3053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78562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65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bullet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29" r:id="rId2"/>
    <p:sldLayoutId id="2147483682" r:id="rId3"/>
    <p:sldLayoutId id="2147483734" r:id="rId4"/>
    <p:sldLayoutId id="2147483728" r:id="rId5"/>
    <p:sldLayoutId id="2147483733" r:id="rId6"/>
    <p:sldLayoutId id="2147483730" r:id="rId7"/>
    <p:sldLayoutId id="2147483681" r:id="rId8"/>
    <p:sldLayoutId id="2147483732" r:id="rId9"/>
    <p:sldLayoutId id="2147483731" r:id="rId10"/>
    <p:sldLayoutId id="2147483750" r:id="rId11"/>
    <p:sldLayoutId id="2147483649" r:id="rId12"/>
    <p:sldLayoutId id="2147483759" r:id="rId13"/>
    <p:sldLayoutId id="2147483760" r:id="rId14"/>
    <p:sldLayoutId id="2147483746" r:id="rId15"/>
    <p:sldLayoutId id="2147483751" r:id="rId16"/>
    <p:sldLayoutId id="2147483752" r:id="rId17"/>
    <p:sldLayoutId id="2147483748" r:id="rId18"/>
    <p:sldLayoutId id="2147483651" r:id="rId19"/>
    <p:sldLayoutId id="2147483721" r:id="rId20"/>
    <p:sldLayoutId id="2147483739" r:id="rId21"/>
    <p:sldLayoutId id="2147483737" r:id="rId22"/>
    <p:sldLayoutId id="2147483742" r:id="rId23"/>
    <p:sldLayoutId id="2147483724" r:id="rId24"/>
    <p:sldLayoutId id="2147483723" r:id="rId25"/>
    <p:sldLayoutId id="2147483725" r:id="rId26"/>
    <p:sldLayoutId id="2147483755" r:id="rId27"/>
    <p:sldLayoutId id="2147483757" r:id="rId28"/>
    <p:sldLayoutId id="2147483673" r:id="rId29"/>
    <p:sldLayoutId id="2147483653" r:id="rId30"/>
    <p:sldLayoutId id="2147483722" r:id="rId31"/>
    <p:sldLayoutId id="2147483693" r:id="rId32"/>
    <p:sldLayoutId id="2147483701" r:id="rId33"/>
    <p:sldLayoutId id="2147483668" r:id="rId34"/>
    <p:sldLayoutId id="2147483707" r:id="rId35"/>
    <p:sldLayoutId id="2147483714" r:id="rId36"/>
    <p:sldLayoutId id="2147483657" r:id="rId37"/>
    <p:sldLayoutId id="2147483679" r:id="rId38"/>
    <p:sldLayoutId id="2147483661" r:id="rId39"/>
    <p:sldLayoutId id="2147483754" r:id="rId40"/>
    <p:sldLayoutId id="2147483678" r:id="rId41"/>
    <p:sldLayoutId id="2147483663" r:id="rId42"/>
    <p:sldLayoutId id="2147483667" r:id="rId43"/>
    <p:sldLayoutId id="2147483726" r:id="rId44"/>
    <p:sldLayoutId id="2147483688" r:id="rId45"/>
    <p:sldLayoutId id="2147483655" r:id="rId46"/>
    <p:sldLayoutId id="2147483745" r:id="rId47"/>
    <p:sldLayoutId id="2147483741" r:id="rId48"/>
    <p:sldLayoutId id="2147483761" r:id="rId49"/>
    <p:sldLayoutId id="2147483762" r:id="rId50"/>
    <p:sldLayoutId id="2147483763" r:id="rId5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.oradba.ch/oci-sec-ws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5.png"/><Relationship Id="rId5" Type="http://schemas.openxmlformats.org/officeDocument/2006/relationships/hyperlink" Target="http://cloud.oracle.com/" TargetMode="External"/><Relationship Id="rId4" Type="http://schemas.openxmlformats.org/officeDocument/2006/relationships/hyperlink" Target="https://code.oradba.ch/oci-sec-ws/others/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5.png"/><Relationship Id="rId7" Type="http://schemas.openxmlformats.org/officeDocument/2006/relationships/image" Target="../media/image23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2.png"/><Relationship Id="rId5" Type="http://schemas.openxmlformats.org/officeDocument/2006/relationships/image" Target="../media/image17.jpeg"/><Relationship Id="rId10" Type="http://schemas.openxmlformats.org/officeDocument/2006/relationships/image" Target="../media/image26.png"/><Relationship Id="rId4" Type="http://schemas.openxmlformats.org/officeDocument/2006/relationships/image" Target="../media/image16.png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13" Type="http://schemas.openxmlformats.org/officeDocument/2006/relationships/image" Target="../media/image36.png"/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12" Type="http://schemas.openxmlformats.org/officeDocument/2006/relationships/image" Target="../media/image35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hyperlink" Target="bit.ly/OracleACEProgram" TargetMode="External"/><Relationship Id="rId15" Type="http://schemas.openxmlformats.org/officeDocument/2006/relationships/image" Target="../media/image38.png"/><Relationship Id="rId10" Type="http://schemas.openxmlformats.org/officeDocument/2006/relationships/image" Target="../media/image33.svg"/><Relationship Id="rId4" Type="http://schemas.openxmlformats.org/officeDocument/2006/relationships/hyperlink" Target="http://acenomination.oracle.com/" TargetMode="External"/><Relationship Id="rId9" Type="http://schemas.openxmlformats.org/officeDocument/2006/relationships/image" Target="../media/image32.png"/><Relationship Id="rId14" Type="http://schemas.openxmlformats.org/officeDocument/2006/relationships/image" Target="../media/image3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svg"/><Relationship Id="rId3" Type="http://schemas.openxmlformats.org/officeDocument/2006/relationships/image" Target="../media/image39.png"/><Relationship Id="rId7" Type="http://schemas.openxmlformats.org/officeDocument/2006/relationships/image" Target="../media/image43.svg"/><Relationship Id="rId12" Type="http://schemas.openxmlformats.org/officeDocument/2006/relationships/image" Target="../media/image48.png"/><Relationship Id="rId2" Type="http://schemas.openxmlformats.org/officeDocument/2006/relationships/image" Target="../media/image27.png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svg"/><Relationship Id="rId15" Type="http://schemas.openxmlformats.org/officeDocument/2006/relationships/image" Target="../media/image51.sv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svg"/><Relationship Id="rId1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4.jpe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1.xml"/><Relationship Id="rId6" Type="http://schemas.openxmlformats.org/officeDocument/2006/relationships/image" Target="../media/image53.jpeg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FB5035-7C72-43BF-A8DB-A7280ED54461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381000" y="1429154"/>
            <a:ext cx="7571197" cy="2255710"/>
          </a:xfrm>
        </p:spPr>
        <p:txBody>
          <a:bodyPr/>
          <a:lstStyle/>
          <a:p>
            <a:r>
              <a:rPr lang="en-US" dirty="0"/>
              <a:t>Oracle Cloud Infrastructure Security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1244AFF-6411-4B84-BA88-9244C0125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/>
              <a:t>The Practice Worksho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19C304-423F-4288-926C-47BD259C67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/>
        <p:txBody>
          <a:bodyPr/>
          <a:lstStyle/>
          <a:p>
            <a:r>
              <a:rPr lang="de-CH" dirty="0"/>
              <a:t>Martin Berger</a:t>
            </a:r>
          </a:p>
          <a:p>
            <a:r>
              <a:rPr lang="de-CH" dirty="0"/>
              <a:t>Stefan Oehrl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93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1F36C6-37A0-C499-DDE7-7B788C5A7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Access Informatio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5002AC-1499-E6E1-1FE6-40730E198E7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The course materials and exercises are available via the GitHub repository/website:</a:t>
            </a:r>
          </a:p>
          <a:p>
            <a:pPr>
              <a:buFont typeface="Wingdings" pitchFamily="2" charset="2"/>
              <a:buChar char="§"/>
            </a:pPr>
            <a:r>
              <a:rPr lang="en-GB" dirty="0"/>
              <a:t>OCI Walkthrough: 						</a:t>
            </a:r>
            <a:r>
              <a:rPr lang="en-GB" dirty="0">
                <a:hlinkClick r:id="rId3"/>
              </a:rPr>
              <a:t>https://code.oradba.ch/oci-sec-ws</a:t>
            </a:r>
            <a:endParaRPr lang="en-GB" dirty="0"/>
          </a:p>
          <a:p>
            <a:pPr>
              <a:buFont typeface="Wingdings" pitchFamily="2" charset="2"/>
              <a:buChar char="§"/>
            </a:pPr>
            <a:r>
              <a:rPr lang="en-GB" dirty="0"/>
              <a:t>PDFs and Course Materials: 	</a:t>
            </a:r>
            <a:r>
              <a:rPr lang="en-GB" dirty="0">
                <a:hlinkClick r:id="rId4"/>
              </a:rPr>
              <a:t>https://code.oradba.ch/oci-sec-ws/others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For the workshop, each participant will have access to Oracle Cloud. Accenture is providing an environment with resources for the training day.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URL</a:t>
            </a:r>
            <a:r>
              <a:rPr lang="en-GB" dirty="0"/>
              <a:t>: 							</a:t>
            </a:r>
            <a:r>
              <a:rPr lang="en-GB" dirty="0">
                <a:hlinkClick r:id="rId5"/>
              </a:rPr>
              <a:t>http://cloud.oracle.com</a:t>
            </a:r>
            <a:endParaRPr lang="en-GB" dirty="0"/>
          </a:p>
          <a:p>
            <a:pPr>
              <a:buFont typeface="Wingdings" pitchFamily="2" charset="2"/>
              <a:buChar char="§"/>
            </a:pPr>
            <a:r>
              <a:rPr lang="en-GB" b="1" dirty="0"/>
              <a:t>Tenant</a:t>
            </a:r>
            <a:r>
              <a:rPr lang="en-GB" dirty="0"/>
              <a:t>: 					Provided by the instructor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User</a:t>
            </a:r>
            <a:r>
              <a:rPr lang="en-GB" dirty="0"/>
              <a:t>: 						</a:t>
            </a:r>
            <a:r>
              <a:rPr lang="en-GB" i="1" dirty="0"/>
              <a:t>DOAGOCI</a:t>
            </a:r>
            <a:r>
              <a:rPr lang="en-GB" b="1" i="1" dirty="0"/>
              <a:t>NN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Password</a:t>
            </a:r>
            <a:r>
              <a:rPr lang="en-GB" dirty="0"/>
              <a:t>: 			Provided by the instructor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Compartment</a:t>
            </a:r>
            <a:r>
              <a:rPr lang="en-GB" dirty="0"/>
              <a:t>:	</a:t>
            </a:r>
            <a:r>
              <a:rPr lang="en-GB" i="1" dirty="0" err="1"/>
              <a:t>Student</a:t>
            </a:r>
            <a:r>
              <a:rPr lang="en-GB" b="1" i="1" dirty="0" err="1"/>
              <a:t>NN</a:t>
            </a:r>
            <a:endParaRPr lang="en-GB" b="1" i="1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53024F-5329-2711-A171-9734ABCE6D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Resources and Cloud Environment Details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8316A7-B1D8-03C9-590C-633D2D6DBD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B5A3F3-0102-F78E-6ADA-1A678FA1A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8" name="Picture 7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418997D4-65BE-5A2D-E2B6-DD8CE6F211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03818" y="3844179"/>
            <a:ext cx="2644055" cy="264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609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86DCA-E252-45B6-8790-F0CA74EA4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852451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C7692-6056-46B2-E512-0759FB3D4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7D33A-9385-04FB-0CC0-B70A7E92090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D8FD66-5E5A-2B7A-3205-6225AA27B3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E9261-50DD-8A5B-F1A3-562699A038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A8576-31FF-8987-09BD-993D383AD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60B527-E95B-DFB0-6918-0750421D59B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0BD9527-5538-749A-E637-24049E723DE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79DD57F-E3E2-D169-BD1A-888DFC4F0F41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1308701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877B19A-A6F2-8461-8303-8E9390F95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3C9C4BA-F786-037F-115D-1D4B70D08D6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8AAEBF-DB92-62C1-D03A-4A40C0975A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BED2C4-80A4-E78D-0564-A7AAFDFE38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FFEC4D-507B-FEF9-CB06-E4D8A4B82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0E28A2F-3284-DC08-057E-1E3D9719FCF9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7610358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tin Berger </a:t>
            </a:r>
            <a:r>
              <a:rPr lang="en-CH" dirty="0"/>
              <a:t>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8 working in IT</a:t>
            </a:r>
          </a:p>
          <a:p>
            <a:r>
              <a:rPr lang="en-GB" dirty="0"/>
              <a:t>More than 22 years of experience in Oracle databases</a:t>
            </a:r>
          </a:p>
          <a:p>
            <a:r>
              <a:rPr lang="en-GB" dirty="0" err="1"/>
              <a:t>Kestenholz</a:t>
            </a:r>
            <a:r>
              <a:rPr lang="en-GB" dirty="0"/>
              <a:t> / </a:t>
            </a:r>
            <a:r>
              <a:rPr lang="en-GB" dirty="0" err="1"/>
              <a:t>Jurasüdfuss</a:t>
            </a:r>
            <a:r>
              <a:rPr lang="en-GB" dirty="0"/>
              <a:t> / Switzerland</a:t>
            </a:r>
          </a:p>
          <a:p>
            <a:r>
              <a:rPr lang="en-GB" dirty="0"/>
              <a:t>2 Junior-DBAs @ Home (8yrs &amp; 10yrs)</a:t>
            </a:r>
          </a:p>
          <a:p>
            <a:r>
              <a:rPr lang="en-GB" dirty="0"/>
              <a:t>Firefighter &amp; E-Biker</a:t>
            </a:r>
          </a:p>
          <a:p>
            <a:r>
              <a:rPr lang="en-GB" dirty="0"/>
              <a:t>Loves his companies' cultural values:	</a:t>
            </a:r>
          </a:p>
          <a:p>
            <a:r>
              <a:rPr lang="en-GB" dirty="0"/>
              <a:t>curiosity, doers, network, space, and together</a:t>
            </a:r>
          </a:p>
          <a:p>
            <a:r>
              <a:rPr lang="en-GB" dirty="0"/>
              <a:t>Focus: Let’s go into the Cloud!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849" r="849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martinberger.com</a:t>
            </a:r>
            <a:endParaRPr lang="de-CH" sz="1800" dirty="0">
              <a:latin typeface="+mn-lt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7059" y="5842389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663974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martinberger_ch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2CCDDB-A5AB-3C1F-F6F0-AF44DCEF29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94273" y="1635538"/>
            <a:ext cx="1333596" cy="1477143"/>
          </a:xfrm>
          <a:prstGeom prst="rect">
            <a:avLst/>
          </a:prstGeom>
        </p:spPr>
      </p:pic>
      <p:pic>
        <p:nvPicPr>
          <p:cNvPr id="8" name="Picture 7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997B9697-D079-6179-0C9B-DCBA672C1E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9923" y="1002016"/>
            <a:ext cx="2399080" cy="9450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2A58C51-D889-5766-E023-2FF867E1A7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1367" y="1335226"/>
            <a:ext cx="1156081" cy="1345917"/>
          </a:xfrm>
          <a:prstGeom prst="rect">
            <a:avLst/>
          </a:prstGeom>
          <a:ln w="952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41462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Stefan Oehrli 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7 </a:t>
            </a:r>
            <a:r>
              <a:rPr lang="en-GB" dirty="0">
                <a:latin typeface="+mj-lt"/>
              </a:rPr>
              <a:t>active</a:t>
            </a:r>
            <a:r>
              <a:rPr lang="en-GB" dirty="0"/>
              <a:t> in various IT areas</a:t>
            </a:r>
          </a:p>
          <a:p>
            <a:r>
              <a:rPr lang="en-GB" dirty="0"/>
              <a:t>More than 25 years of experience in Oracle databases</a:t>
            </a:r>
          </a:p>
          <a:p>
            <a:r>
              <a:rPr lang="en-GB" dirty="0"/>
              <a:t>Focus: Protecting data and operating databases securely</a:t>
            </a:r>
          </a:p>
          <a:p>
            <a:pPr lvl="1"/>
            <a:r>
              <a:rPr lang="en-GB" dirty="0"/>
              <a:t>Security assessments and reviews </a:t>
            </a:r>
          </a:p>
          <a:p>
            <a:pPr lvl="1"/>
            <a:r>
              <a:rPr lang="en-GB" dirty="0"/>
              <a:t>Database security concepts and their implementation</a:t>
            </a:r>
          </a:p>
          <a:p>
            <a:pPr lvl="1"/>
            <a:r>
              <a:rPr lang="en-GB" dirty="0"/>
              <a:t>Oracle Backup &amp; Recovery concepts and troubleshooting</a:t>
            </a:r>
          </a:p>
          <a:p>
            <a:pPr lvl="1"/>
            <a:r>
              <a:rPr lang="en-GB" dirty="0"/>
              <a:t>Oracle Enterprise User and Advanced Security, DB Vault, …</a:t>
            </a:r>
          </a:p>
          <a:p>
            <a:pPr lvl="1"/>
            <a:r>
              <a:rPr lang="en-GB" dirty="0"/>
              <a:t>Oracle Directory Services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15160" t="2567" r="12494" b="41271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oradba.ch</a:t>
            </a:r>
            <a:endParaRPr lang="de-CH" sz="1800" dirty="0">
              <a:latin typeface="+mn-lt"/>
            </a:endParaRPr>
          </a:p>
          <a:p>
            <a:endParaRPr lang="de-CH" sz="1800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9085" y="5868705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096000" y="5895021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stefanoehrli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73ABD427-27CE-C838-0454-7938396B49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9347" y="1356326"/>
            <a:ext cx="1156204" cy="1156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690C77-120F-E5E0-063D-D1ABCE28456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131187" y="817881"/>
            <a:ext cx="2450120" cy="9651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 descr="A black square with a gold and black logo&#10;&#10;Description automatically generated">
            <a:extLst>
              <a:ext uri="{FF2B5EF4-FFF2-40B4-BE49-F238E27FC236}">
                <a16:creationId xmlns:a16="http://schemas.microsoft.com/office/drawing/2014/main" id="{BDA661E5-2CB1-4379-3D9C-82BF4C5BC6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1759" y="1758427"/>
            <a:ext cx="1435824" cy="14358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pic>
        <p:nvPicPr>
          <p:cNvPr id="39" name="Picture 38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F008A5C9-0680-8150-43AA-CC938A873B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52100" y="5154202"/>
            <a:ext cx="1358900" cy="1358900"/>
          </a:xfrm>
          <a:prstGeom prst="rect">
            <a:avLst/>
          </a:prstGeom>
        </p:spPr>
      </p:pic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5" name="Picture 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AB5F226-A75D-71B2-6785-E08CD312BE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34101" y="935380"/>
            <a:ext cx="2046715" cy="798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10081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37A34A-06EC-B2A3-B9F7-FFD6597A8F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69FFC43-5596-66BB-246E-115474957344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7397" b="32"/>
          <a:stretch/>
        </p:blipFill>
        <p:spPr bwMode="auto">
          <a:xfrm>
            <a:off x="7085104" y="0"/>
            <a:ext cx="5120640" cy="438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6AA92AA-0FA5-0A9E-522D-D6533CC584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20" y="640080"/>
            <a:ext cx="3657600" cy="3657600"/>
          </a:xfrm>
          <a:prstGeom prst="rect">
            <a:avLst/>
          </a:prstGeom>
        </p:spPr>
      </p:pic>
      <p:sp>
        <p:nvSpPr>
          <p:cNvPr id="16" name="Title 22">
            <a:extLst>
              <a:ext uri="{FF2B5EF4-FFF2-40B4-BE49-F238E27FC236}">
                <a16:creationId xmlns:a16="http://schemas.microsoft.com/office/drawing/2014/main" id="{4E757955-0A3B-A929-0381-2AFA91521ACA}"/>
              </a:ext>
            </a:extLst>
          </p:cNvPr>
          <p:cNvSpPr txBox="1">
            <a:spLocks/>
          </p:cNvSpPr>
          <p:nvPr/>
        </p:nvSpPr>
        <p:spPr>
          <a:xfrm>
            <a:off x="822960" y="1554480"/>
            <a:ext cx="7315200" cy="10058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 dirty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pPr>
              <a:spcAft>
                <a:spcPts val="900"/>
              </a:spcAft>
            </a:pPr>
            <a:r>
              <a:rPr lang="en-GB" sz="4000" dirty="0">
                <a:latin typeface="Georgia" panose="02040502050405020303" pitchFamily="18" charset="0"/>
                <a:cs typeface="Oracle Sans" panose="020B0503020204020204" pitchFamily="34" charset="0"/>
              </a:rPr>
              <a:t>The Oracle ACE Program</a:t>
            </a:r>
          </a:p>
          <a:p>
            <a:r>
              <a:rPr lang="en-GB" sz="2200" b="0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400+ technical experts helping peers globall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E16585-426A-FD6E-2AFC-0C6E69912A3D}"/>
              </a:ext>
            </a:extLst>
          </p:cNvPr>
          <p:cNvSpPr txBox="1"/>
          <p:nvPr/>
        </p:nvSpPr>
        <p:spPr>
          <a:xfrm>
            <a:off x="822959" y="3474720"/>
            <a:ext cx="7680960" cy="178510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The Oracle ACE Program recognizes and rewards community members for their technical and community contributions to the Oracle community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3 membership levels: Director, Pro, and Associat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Nominate yourself or a colleague at </a:t>
            </a: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  <a:hlinkClick r:id="rId4"/>
              </a:rPr>
              <a:t>ace.oracle.com/nominate</a:t>
            </a:r>
            <a:endParaRPr lang="en-US" sz="1600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Learn more at </a:t>
            </a:r>
            <a:r>
              <a:rPr lang="en-US" sz="1600" u="sng" dirty="0">
                <a:solidFill>
                  <a:srgbClr val="2C5967"/>
                </a:solidFill>
                <a:latin typeface="Oracle Sans" panose="020B0503020204020204" pitchFamily="34" charset="0"/>
                <a:cs typeface="Oracle Sans" panose="020B0503020204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e.oracle.com</a:t>
            </a:r>
            <a:endParaRPr lang="en-US" sz="1600" u="sng" dirty="0">
              <a:solidFill>
                <a:srgbClr val="2C5967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8B56A5F-4242-9AB6-FA18-3AE1F19C343D}"/>
              </a:ext>
            </a:extLst>
          </p:cNvPr>
          <p:cNvCxnSpPr/>
          <p:nvPr/>
        </p:nvCxnSpPr>
        <p:spPr>
          <a:xfrm>
            <a:off x="822959" y="3017520"/>
            <a:ext cx="548640" cy="0"/>
          </a:xfrm>
          <a:prstGeom prst="line">
            <a:avLst/>
          </a:prstGeom>
          <a:ln w="50800">
            <a:solidFill>
              <a:srgbClr val="FACD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>
            <a:extLst>
              <a:ext uri="{FF2B5EF4-FFF2-40B4-BE49-F238E27FC236}">
                <a16:creationId xmlns:a16="http://schemas.microsoft.com/office/drawing/2014/main" id="{9013D4B1-6DE5-F310-B2A6-D697880A40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7120" y="5943600"/>
            <a:ext cx="731520" cy="731520"/>
          </a:xfrm>
          <a:prstGeom prst="rect">
            <a:avLst/>
          </a:prstGeom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id="{BDFD9863-92F7-5A40-3B48-D6BD8E849E38}"/>
              </a:ext>
            </a:extLst>
          </p:cNvPr>
          <p:cNvGrpSpPr/>
          <p:nvPr/>
        </p:nvGrpSpPr>
        <p:grpSpPr>
          <a:xfrm>
            <a:off x="822960" y="6126479"/>
            <a:ext cx="8943319" cy="277000"/>
            <a:chOff x="548639" y="6126479"/>
            <a:chExt cx="8943319" cy="2770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508FFC-0DAC-7C88-AD41-DEC72158D917}"/>
                </a:ext>
              </a:extLst>
            </p:cNvPr>
            <p:cNvSpPr/>
            <p:nvPr/>
          </p:nvSpPr>
          <p:spPr>
            <a:xfrm>
              <a:off x="5989319" y="6126480"/>
              <a:ext cx="91440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@</a:t>
              </a:r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oracleace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98E81A8-33AB-DDD0-20E5-073A9BC9312F}"/>
                </a:ext>
              </a:extLst>
            </p:cNvPr>
            <p:cNvSpPr/>
            <p:nvPr/>
          </p:nvSpPr>
          <p:spPr>
            <a:xfrm>
              <a:off x="3520439" y="6126480"/>
              <a:ext cx="201168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Facebook.com</a:t>
              </a:r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/</a:t>
              </a:r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OracleACEs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E7FBC16-A180-37CC-957E-2FDA21AD8CB4}"/>
                </a:ext>
              </a:extLst>
            </p:cNvPr>
            <p:cNvSpPr/>
            <p:nvPr/>
          </p:nvSpPr>
          <p:spPr>
            <a:xfrm>
              <a:off x="868679" y="6126480"/>
              <a:ext cx="210312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aceprogram_ww@oracle.com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04F5BCA-D997-50AA-A4FC-E4CFCF5CC3BC}"/>
                </a:ext>
              </a:extLst>
            </p:cNvPr>
            <p:cNvSpPr/>
            <p:nvPr/>
          </p:nvSpPr>
          <p:spPr>
            <a:xfrm>
              <a:off x="7452359" y="6126479"/>
              <a:ext cx="2039599" cy="274320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Oracle ACE Program Group</a:t>
              </a:r>
            </a:p>
          </p:txBody>
        </p:sp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FE17954D-DC50-3E9D-8200-3774A0BE9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48639" y="6126480"/>
              <a:ext cx="274320" cy="274320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2704A9CA-783E-D6D6-758D-F1894646BBD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00400" y="6126480"/>
              <a:ext cx="274320" cy="274320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271F9F80-6D96-4D72-05F8-21367D48D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132319" y="6126480"/>
              <a:ext cx="274320" cy="274320"/>
            </a:xfrm>
            <a:prstGeom prst="rect">
              <a:avLst/>
            </a:prstGeom>
          </p:spPr>
        </p:pic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1009E2A8-C5F9-32B0-2AE1-F33EDA58C7B3}"/>
                </a:ext>
              </a:extLst>
            </p:cNvPr>
            <p:cNvGrpSpPr/>
            <p:nvPr/>
          </p:nvGrpSpPr>
          <p:grpSpPr>
            <a:xfrm>
              <a:off x="5714999" y="6126480"/>
              <a:ext cx="320041" cy="274320"/>
              <a:chOff x="5509590" y="5545997"/>
              <a:chExt cx="320041" cy="274320"/>
            </a:xfrm>
          </p:grpSpPr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13EDFF24-5608-D03B-9906-1B6BCDFB26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509590" y="5568857"/>
                <a:ext cx="228600" cy="228600"/>
              </a:xfrm>
              <a:prstGeom prst="rect">
                <a:avLst/>
              </a:prstGeom>
            </p:spPr>
          </p:pic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D0A6F405-BBF1-8C46-0C84-548F5B5BD055}"/>
                  </a:ext>
                </a:extLst>
              </p:cNvPr>
              <p:cNvSpPr/>
              <p:nvPr/>
            </p:nvSpPr>
            <p:spPr>
              <a:xfrm>
                <a:off x="5555311" y="5545997"/>
                <a:ext cx="274320" cy="27432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71" name="TextBox 70">
            <a:extLst>
              <a:ext uri="{FF2B5EF4-FFF2-40B4-BE49-F238E27FC236}">
                <a16:creationId xmlns:a16="http://schemas.microsoft.com/office/drawing/2014/main" id="{A1E9D997-F062-BC46-9095-A7565B2DD672}"/>
              </a:ext>
            </a:extLst>
          </p:cNvPr>
          <p:cNvSpPr txBox="1"/>
          <p:nvPr/>
        </p:nvSpPr>
        <p:spPr>
          <a:xfrm>
            <a:off x="4321147" y="-8092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C7D869F9-FA96-786D-8B0E-5578151DD2A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9" y="661511"/>
            <a:ext cx="1828801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55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0F58F125-B3E0-1085-6596-D85DE80E9DC4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7397" b="32"/>
          <a:stretch/>
        </p:blipFill>
        <p:spPr bwMode="auto">
          <a:xfrm>
            <a:off x="7071360" y="0"/>
            <a:ext cx="5120640" cy="438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0C59CA4-474B-0B60-75F2-673D76980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5280" y="181527"/>
            <a:ext cx="3691064" cy="3383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65F6E1DE-AEB0-F01F-F4F6-96C19652079E}"/>
              </a:ext>
            </a:extLst>
          </p:cNvPr>
          <p:cNvSpPr txBox="1">
            <a:spLocks/>
          </p:cNvSpPr>
          <p:nvPr/>
        </p:nvSpPr>
        <p:spPr>
          <a:xfrm>
            <a:off x="1371600" y="1737360"/>
            <a:ext cx="2560320" cy="110030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Key Benefits</a:t>
            </a: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Cool 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swag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*, Digital awards for social media, Oracle 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CloudWorld pass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*, &amp; mo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E8688BB-DE72-4D76-2C0D-C331E93CF020}"/>
              </a:ext>
            </a:extLst>
          </p:cNvPr>
          <p:cNvSpPr txBox="1"/>
          <p:nvPr/>
        </p:nvSpPr>
        <p:spPr>
          <a:xfrm>
            <a:off x="548640" y="777240"/>
            <a:ext cx="33922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Poppins" pitchFamily="2" charset="77"/>
              </a:rPr>
              <a:t>ACE Member Benefits</a:t>
            </a:r>
          </a:p>
        </p:txBody>
      </p:sp>
      <p:pic>
        <p:nvPicPr>
          <p:cNvPr id="6" name="Picture Placeholder 76">
            <a:extLst>
              <a:ext uri="{FF2B5EF4-FFF2-40B4-BE49-F238E27FC236}">
                <a16:creationId xmlns:a16="http://schemas.microsoft.com/office/drawing/2014/main" id="{B0900222-5B38-2FB4-179B-EC5B7648218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5" r="85"/>
          <a:stretch/>
        </p:blipFill>
        <p:spPr>
          <a:xfrm>
            <a:off x="548640" y="1463040"/>
            <a:ext cx="731520" cy="73152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47CF4F2C-2E56-B0A7-43D3-E797A265FDC3}"/>
              </a:ext>
            </a:extLst>
          </p:cNvPr>
          <p:cNvSpPr txBox="1">
            <a:spLocks/>
          </p:cNvSpPr>
          <p:nvPr/>
        </p:nvSpPr>
        <p:spPr>
          <a:xfrm>
            <a:off x="8869680" y="4023360"/>
            <a:ext cx="2560320" cy="58060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Cloud Account</a:t>
            </a:r>
          </a:p>
          <a:p>
            <a:pPr marL="0" marR="0" lvl="0" indent="0" algn="l" defTabSz="1087636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$5k USD Cloud account*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76F741-86A6-493B-C973-D5AD591FD492}"/>
              </a:ext>
            </a:extLst>
          </p:cNvPr>
          <p:cNvSpPr txBox="1">
            <a:spLocks/>
          </p:cNvSpPr>
          <p:nvPr/>
        </p:nvSpPr>
        <p:spPr>
          <a:xfrm>
            <a:off x="5120640" y="4023360"/>
            <a:ext cx="2560320" cy="219290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Networking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u="non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In-person &amp; virtual </a:t>
            </a:r>
            <a:r>
              <a:rPr kumimoji="0" lang="en-US" sz="1600" u="non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networking opportunities for ACEs to </a:t>
            </a:r>
            <a:r>
              <a:rPr kumimoji="0" lang="en-US" sz="1600" b="1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connect with product development </a:t>
            </a:r>
            <a:r>
              <a:rPr kumimoji="0" lang="en-US" sz="1600" u="non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and each other.</a:t>
            </a:r>
          </a:p>
          <a:p>
            <a:pPr marL="0" lvl="1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racle Sans Light" panose="020B0403020204020204" pitchFamily="34" charset="0"/>
              <a:ea typeface="Lato Light" panose="020F0502020204030203" pitchFamily="34" charset="0"/>
              <a:cs typeface="Oracle Sans Light" panose="020B0403020204020204" pitchFamily="34" charset="0"/>
            </a:endParaRP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racle Sans Light" panose="020B0403020204020204" pitchFamily="34" charset="0"/>
              <a:ea typeface="Lato Light" panose="020F0502020204030203" pitchFamily="34" charset="0"/>
              <a:cs typeface="Oracle Sans Light" panose="020B0403020204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F2FAE4F-656E-3236-E5BC-7CB07D7618E7}"/>
              </a:ext>
            </a:extLst>
          </p:cNvPr>
          <p:cNvSpPr txBox="1">
            <a:spLocks/>
          </p:cNvSpPr>
          <p:nvPr/>
        </p:nvSpPr>
        <p:spPr>
          <a:xfrm>
            <a:off x="5120640" y="1737360"/>
            <a:ext cx="2560320" cy="159274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Direct Access to Product </a:t>
            </a:r>
            <a:r>
              <a:rPr lang="en-US" sz="1600" b="1" dirty="0">
                <a:solidFill>
                  <a:srgbClr val="312D2A"/>
                </a:solidFill>
                <a:latin typeface="+mj-lt"/>
                <a:ea typeface="League Spartan" charset="0"/>
                <a:cs typeface="Poppins" pitchFamily="2" charset="77"/>
              </a:rPr>
              <a:t>M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anagemen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+mj-lt"/>
              <a:ea typeface="League Spartan" charset="0"/>
              <a:cs typeface="Poppins" pitchFamily="2" charset="77"/>
            </a:endParaRP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Multiple 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direct communication channels 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to product management and fellow ACEs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EBD0541-3BD6-6581-C39C-6AFC6CD7176B}"/>
              </a:ext>
            </a:extLst>
          </p:cNvPr>
          <p:cNvSpPr txBox="1">
            <a:spLocks/>
          </p:cNvSpPr>
          <p:nvPr/>
        </p:nvSpPr>
        <p:spPr>
          <a:xfrm>
            <a:off x="1371600" y="4023360"/>
            <a:ext cx="2560320" cy="134652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Exclusive Conten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Exclusive </a:t>
            </a:r>
            <a:r>
              <a:rPr kumimoji="0" lang="en-US" sz="1600" b="1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monthly virtual meetings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 with product development teams + engaging guest speakers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E284B70-89D5-FE23-7221-118EB318EE0F}"/>
              </a:ext>
            </a:extLst>
          </p:cNvPr>
          <p:cNvSpPr txBox="1">
            <a:spLocks/>
          </p:cNvSpPr>
          <p:nvPr/>
        </p:nvSpPr>
        <p:spPr>
          <a:xfrm>
            <a:off x="8869680" y="4937760"/>
            <a:ext cx="2560320" cy="151932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Travel Suppor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marL="0" marR="0" lvl="0" indent="0" algn="l" defTabSz="1087636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ACE Directors are eligible for travel support to give presentations or lead workshops at conferences globally</a:t>
            </a:r>
          </a:p>
        </p:txBody>
      </p:sp>
      <p:pic>
        <p:nvPicPr>
          <p:cNvPr id="12" name="Picture Placeholder 130">
            <a:extLst>
              <a:ext uri="{FF2B5EF4-FFF2-40B4-BE49-F238E27FC236}">
                <a16:creationId xmlns:a16="http://schemas.microsoft.com/office/drawing/2014/main" id="{BE7BC5BF-D237-126E-E9AE-640851B215D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85" b="85"/>
          <a:stretch/>
        </p:blipFill>
        <p:spPr>
          <a:xfrm>
            <a:off x="548640" y="3749040"/>
            <a:ext cx="731520" cy="731520"/>
          </a:xfrm>
          <a:prstGeom prst="rect">
            <a:avLst/>
          </a:prstGeom>
        </p:spPr>
      </p:pic>
      <p:pic>
        <p:nvPicPr>
          <p:cNvPr id="13" name="Picture Placeholder 68">
            <a:extLst>
              <a:ext uri="{FF2B5EF4-FFF2-40B4-BE49-F238E27FC236}">
                <a16:creationId xmlns:a16="http://schemas.microsoft.com/office/drawing/2014/main" id="{B94CA942-AD29-3B88-3AF7-0E541180757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85" r="85"/>
          <a:stretch/>
        </p:blipFill>
        <p:spPr>
          <a:xfrm>
            <a:off x="4297680" y="3749040"/>
            <a:ext cx="731520" cy="731520"/>
          </a:xfrm>
          <a:prstGeom prst="rect">
            <a:avLst/>
          </a:prstGeom>
        </p:spPr>
      </p:pic>
      <p:pic>
        <p:nvPicPr>
          <p:cNvPr id="14" name="Picture Placeholder 41">
            <a:extLst>
              <a:ext uri="{FF2B5EF4-FFF2-40B4-BE49-F238E27FC236}">
                <a16:creationId xmlns:a16="http://schemas.microsoft.com/office/drawing/2014/main" id="{D2D6339B-FE63-9E1F-1EB8-84BB7FE66DD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8046720" y="3749040"/>
            <a:ext cx="731520" cy="731520"/>
          </a:xfrm>
          <a:prstGeom prst="rect">
            <a:avLst/>
          </a:prstGeom>
        </p:spPr>
      </p:pic>
      <p:pic>
        <p:nvPicPr>
          <p:cNvPr id="15" name="Picture Placeholder 50">
            <a:extLst>
              <a:ext uri="{FF2B5EF4-FFF2-40B4-BE49-F238E27FC236}">
                <a16:creationId xmlns:a16="http://schemas.microsoft.com/office/drawing/2014/main" id="{111D1133-79B6-6C50-3AB0-522E15DE5E74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8046720" y="4754880"/>
            <a:ext cx="731520" cy="731520"/>
          </a:xfrm>
          <a:prstGeom prst="rect">
            <a:avLst/>
          </a:prstGeom>
        </p:spPr>
      </p:pic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3B82B3CB-285D-ABDD-AC63-7867A861400E}"/>
              </a:ext>
            </a:extLst>
          </p:cNvPr>
          <p:cNvSpPr>
            <a:spLocks noChangeAspect="1"/>
          </p:cNvSpPr>
          <p:nvPr/>
        </p:nvSpPr>
        <p:spPr>
          <a:xfrm>
            <a:off x="4279392" y="2308780"/>
            <a:ext cx="402336" cy="402336"/>
          </a:xfrm>
          <a:prstGeom prst="roundRect">
            <a:avLst>
              <a:gd name="adj" fmla="val 5084"/>
            </a:avLst>
          </a:prstGeom>
          <a:solidFill>
            <a:schemeClr val="bg1"/>
          </a:solidFill>
          <a:ln w="50800">
            <a:solidFill>
              <a:srgbClr val="FDFB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90F46A7-9CBE-F2CE-17DD-92956889377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297680" y="1463040"/>
            <a:ext cx="731520" cy="7315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018CA83-8C7D-465B-A3BF-5D1A850101E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08" y="365760"/>
            <a:ext cx="1143001" cy="457200"/>
          </a:xfrm>
          <a:prstGeom prst="rect">
            <a:avLst/>
          </a:prstGeom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5117B3B-E3EC-B8CF-6E14-DA1AF366FB21}"/>
              </a:ext>
            </a:extLst>
          </p:cNvPr>
          <p:cNvSpPr txBox="1">
            <a:spLocks/>
          </p:cNvSpPr>
          <p:nvPr/>
        </p:nvSpPr>
        <p:spPr>
          <a:xfrm>
            <a:off x="944880" y="6450648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latin typeface="Oracle Sans Tab"/>
              </a:rPr>
              <a:t>* for Pro and Director levels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14B7876-294B-275B-C42B-D1B7EBAC5E7F}"/>
              </a:ext>
            </a:extLst>
          </p:cNvPr>
          <p:cNvSpPr txBox="1">
            <a:spLocks/>
          </p:cNvSpPr>
          <p:nvPr/>
        </p:nvSpPr>
        <p:spPr>
          <a:xfrm>
            <a:off x="762000" y="6423660"/>
            <a:ext cx="365760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C371504-33D9-B044-8C50-620C44A06CB1}" type="slidenum">
              <a:rPr lang="en-US" smtClean="0">
                <a:latin typeface="Oracle Sans Tab"/>
              </a:rPr>
              <a:pPr>
                <a:defRPr/>
              </a:pPr>
              <a:t>5</a:t>
            </a:fld>
            <a:endParaRPr lang="en-US" dirty="0">
              <a:latin typeface="Oracle Sans Tab"/>
            </a:endParaRPr>
          </a:p>
        </p:txBody>
      </p:sp>
    </p:spTree>
    <p:extLst>
      <p:ext uri="{BB962C8B-B14F-4D97-AF65-F5344CB8AC3E}">
        <p14:creationId xmlns:p14="http://schemas.microsoft.com/office/powerpoint/2010/main" val="40504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BCC733-3723-27B6-9EE9-1C114E880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BCC733-3723-27B6-9EE9-1C114E880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platzhalter 2" descr="Ein Bild, das Person, drinnen, computer, Fenster enthält.&#10;&#10;Automatisch generierte Beschreibung">
            <a:extLst>
              <a:ext uri="{FF2B5EF4-FFF2-40B4-BE49-F238E27FC236}">
                <a16:creationId xmlns:a16="http://schemas.microsoft.com/office/drawing/2014/main" id="{D00FC92A-9E06-4F98-91AA-578E6B71775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9E8D1-49A4-4163-9BCF-6ABBC3CEF9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24998" y="-74146"/>
            <a:ext cx="3038457" cy="912223"/>
          </a:xfrm>
        </p:spPr>
        <p:txBody>
          <a:bodyPr/>
          <a:lstStyle/>
          <a:p>
            <a:r>
              <a:rPr lang="en-US" sz="2400"/>
              <a:t>3 key benefi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DDBB6C3-4579-43F5-9071-53562E913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5000" y="657967"/>
            <a:ext cx="2471755" cy="232879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 dirty="0">
                <a:solidFill>
                  <a:srgbClr val="A100FF"/>
                </a:solidFill>
              </a:rPr>
              <a:t>1</a:t>
            </a:r>
            <a:r>
              <a:rPr lang="en-US" sz="1600" b="0" dirty="0"/>
              <a:t> Architecture expertise from hands-on projects </a:t>
            </a:r>
          </a:p>
          <a:p>
            <a:r>
              <a:rPr lang="en-US" sz="1600" b="0" dirty="0">
                <a:solidFill>
                  <a:srgbClr val="A100FF"/>
                </a:solidFill>
              </a:rPr>
              <a:t>2 </a:t>
            </a:r>
            <a:r>
              <a:rPr lang="en-US" sz="1600" b="0" dirty="0"/>
              <a:t>Delivery of tailor-made data platforms</a:t>
            </a:r>
          </a:p>
          <a:p>
            <a:r>
              <a:rPr lang="en-US" sz="1600" b="0" dirty="0">
                <a:solidFill>
                  <a:srgbClr val="A100FF"/>
                </a:solidFill>
              </a:rPr>
              <a:t>3</a:t>
            </a:r>
            <a:r>
              <a:rPr lang="en-US" sz="1600" b="0" dirty="0"/>
              <a:t> Integrated Teams Like a rowing team, perfect alignment and interaction.</a:t>
            </a:r>
          </a:p>
          <a:p>
            <a:endParaRPr lang="en-US" sz="1600" b="0" dirty="0"/>
          </a:p>
          <a:p>
            <a:endParaRPr lang="en-US" sz="1600" b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F9DF42-7D33-4C26-A710-37EC657DA5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sz="2400"/>
              <a:t>Tools and Blueprint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547C5EE-1AF5-43B5-926D-56DB81A548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28987" y="4510186"/>
            <a:ext cx="2285995" cy="128487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/>
              <a:t>Key enabler for the implementation of modern data platforms at a high speed and quality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BBB09CA-5BAB-4CC6-8F68-7CE990A7FB7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z="2400"/>
              <a:t>Continuous Optimizati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C766EF8-2183-4E9F-A38F-C2AAB9C616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76995" y="4510183"/>
            <a:ext cx="2285995" cy="1664208"/>
          </a:xfrm>
        </p:spPr>
        <p:txBody>
          <a:bodyPr/>
          <a:lstStyle/>
          <a:p>
            <a:r>
              <a:rPr lang="en-US" sz="1600" b="0"/>
              <a:t>Tools and Blueprints are continuously optimized to the customer and project’s needs. </a:t>
            </a:r>
          </a:p>
        </p:txBody>
      </p:sp>
      <p:pic>
        <p:nvPicPr>
          <p:cNvPr id="18" name="Bildplatzhalter 17" descr="Ein Bild, das draußen, Szene, Weg enthält.&#10;&#10;Automatisch generierte Beschreibung">
            <a:extLst>
              <a:ext uri="{FF2B5EF4-FFF2-40B4-BE49-F238E27FC236}">
                <a16:creationId xmlns:a16="http://schemas.microsoft.com/office/drawing/2014/main" id="{883E81E6-1AE7-458C-87DD-0C465C99E8E1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7C30A9A-A995-40CC-BD87-71583B0E61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2400"/>
              <a:t>Expertise &amp; Light Tower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7117081-6007-4C84-95EC-22E4E0A853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25000" y="4510184"/>
            <a:ext cx="2285995" cy="1662795"/>
          </a:xfrm>
        </p:spPr>
        <p:txBody>
          <a:bodyPr/>
          <a:lstStyle/>
          <a:p>
            <a:r>
              <a:rPr lang="en-US" sz="1600" b="0"/>
              <a:t>Expert group for modern data platforms from technical implementation to project management and organizat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33D7343-3A22-4022-A7E9-7FFF163293C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051" y="296690"/>
            <a:ext cx="6467479" cy="419101"/>
          </a:xfrm>
        </p:spPr>
        <p:txBody>
          <a:bodyPr/>
          <a:lstStyle/>
          <a:p>
            <a:r>
              <a:rPr lang="en-US" sz="2400" dirty="0">
                <a:solidFill>
                  <a:srgbClr val="A100FF"/>
                </a:solidFill>
              </a:rPr>
              <a:t>Modern Data Platforms</a:t>
            </a:r>
            <a:br>
              <a:rPr lang="en-US" sz="2400" dirty="0">
                <a:solidFill>
                  <a:srgbClr val="A100FF"/>
                </a:solidFill>
              </a:rPr>
            </a:br>
            <a:r>
              <a:rPr lang="en-US" sz="2400" dirty="0">
                <a:solidFill>
                  <a:srgbClr val="A100FF"/>
                </a:solidFill>
              </a:rPr>
              <a:t>VISON &amp; MISSION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15199D59-83FC-46F4-B0A1-D58E53A4A45E}"/>
              </a:ext>
            </a:extLst>
          </p:cNvPr>
          <p:cNvSpPr/>
          <p:nvPr/>
        </p:nvSpPr>
        <p:spPr>
          <a:xfrm>
            <a:off x="5869734" y="1771753"/>
            <a:ext cx="189333" cy="142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 defTabSz="609585">
              <a:defRPr/>
            </a:pPr>
            <a:endParaRPr lang="en-US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CD70640B-2E66-4E7A-A3D1-EDE2D07BCF48}"/>
              </a:ext>
            </a:extLst>
          </p:cNvPr>
          <p:cNvSpPr txBox="1">
            <a:spLocks/>
          </p:cNvSpPr>
          <p:nvPr/>
        </p:nvSpPr>
        <p:spPr>
          <a:xfrm>
            <a:off x="380998" y="719228"/>
            <a:ext cx="4614749" cy="23939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WHY? </a:t>
            </a:r>
            <a:r>
              <a:rPr lang="en-US" sz="1600" b="0" dirty="0"/>
              <a:t> We are the game changer for our client's data platform projects</a:t>
            </a:r>
            <a:endParaRPr lang="en-US" sz="4800" dirty="0"/>
          </a:p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HOW? </a:t>
            </a:r>
            <a:r>
              <a:rPr lang="en-US" sz="1600" b="0" dirty="0"/>
              <a:t>Maximum automation, maximum efficiency, maximum quality!</a:t>
            </a:r>
          </a:p>
          <a:p>
            <a:pPr>
              <a:defRPr/>
            </a:pPr>
            <a:r>
              <a:rPr lang="en-US" sz="1600" dirty="0">
                <a:solidFill>
                  <a:srgbClr val="A100FF"/>
                </a:solidFill>
              </a:rPr>
              <a:t>WHAT? </a:t>
            </a:r>
            <a:r>
              <a:rPr lang="en-US" sz="1600" b="0" dirty="0"/>
              <a:t>We build innovative data platforms based on our blueprints and licensable assets and tool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194001-0E39-FED6-2BAC-7837A930F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6CBAE3-9293-0AD3-C8A9-107BFC6E508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6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3261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9E552B-AE32-4808-0A30-526769E9FE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Hands-On Practice Workshop</a:t>
            </a:r>
            <a:endParaRPr lang="en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629877-83F9-C3AD-1532-9D122387E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Security</a:t>
            </a: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3B9380-47E6-C19E-4053-86E14366F5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troductio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1089D9-B568-BC09-13D3-75786BE4D9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Basic OCI Security</a:t>
            </a:r>
            <a:endParaRPr lang="en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52734-A1FB-38C6-2A1D-F73070E0CD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Cloud Guar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F6E433-F286-B428-87FF-D12488F81E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Data Saf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B72ACB7-875F-88E1-8FF9-E339AB5CEA9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dirty="0"/>
              <a:t>Security Zones</a:t>
            </a:r>
            <a:r>
              <a:rPr lang="en-CH" dirty="0"/>
              <a:t> / WAF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22DDC2-84AC-744A-549D-84D37EC6E17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Summary</a:t>
            </a:r>
            <a:endParaRPr lang="en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510B16E-5797-8D5D-1A8B-7AEBFCCACEC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E22572D-86FE-3D93-8F31-CF570714B8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1B6A20-BE70-5369-DAC3-771200A31A9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CH" dirty="0"/>
              <a:t>1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7D98A69-FEC9-0D24-AD29-CAEF70F45C3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CH" dirty="0"/>
              <a:t>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8F22D79-A2DC-4DB4-4E7C-F342772A9A7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CH" dirty="0"/>
              <a:t>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3EAA9DB-E71A-70D3-114E-5321A42925E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CH" dirty="0"/>
              <a:t>4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6D08F88-0E76-35AD-C5AA-16AAAFF2226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CH" dirty="0"/>
              <a:t>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C7779BC-3AFB-E14A-280C-6CE561AD927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CH" dirty="0"/>
              <a:t>6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380F4E5-96D3-0EE8-91FF-7DFC06D0DF4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DA95C92-2A43-394F-DEB1-D1AE8939D91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7A55A09-8644-5322-2543-6A19297EDB9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3587B63-E347-256A-C7C6-2B5C07976E0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2DBCE82-A05F-62CF-664C-3F570BE437A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F0C9FAF-78AB-7175-433E-BC8CAA53D75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31B64CA0-DDE7-7B73-FC06-F698A18ACCF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BA47D0D-CED6-9BDF-255E-674ED709C96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BCD39E1-8AD9-520E-DBD9-5EB32862216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7D6F620-4C9B-4057-0A46-4F7C50F4580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55DC9F5-D1C9-618C-F3B3-C6377C50D3F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5B4E289-497D-D23B-4370-4B9DF0F2C8B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59DC1EA-9CC7-7360-AD6C-CB9F30FEE0F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376197E-CBBE-B7C5-A14E-BE4DE19F58C0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ECC39724-D870-BE0E-D2EC-A855A381149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F32D3B3-9B53-DF9F-E980-C640773AADB1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49C82F9-DBE5-8FEA-BC35-027AFA7CA4C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C3F387D-5DAB-F896-E74C-5924C60DC1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A39E7756-20A4-027F-2273-A6B17B3DEA54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2C56FF7C-113F-961D-8C45-E570A83E6D6D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4506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582D1-49DB-4A36-2989-B436C3F3E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>
            <a:extLst>
              <a:ext uri="{FF2B5EF4-FFF2-40B4-BE49-F238E27FC236}">
                <a16:creationId xmlns:a16="http://schemas.microsoft.com/office/drawing/2014/main" id="{94D98D8E-1535-2614-3837-FCA45E583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urse Schedule</a:t>
            </a:r>
            <a:endParaRPr lang="en-CH" dirty="0"/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4289A93C-7EDF-E20E-9146-A3D68AD7AC49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588437488"/>
              </p:ext>
            </p:extLst>
          </p:nvPr>
        </p:nvGraphicFramePr>
        <p:xfrm>
          <a:off x="239485" y="1981510"/>
          <a:ext cx="11677654" cy="3872672"/>
        </p:xfrm>
        <a:graphic>
          <a:graphicData uri="http://schemas.openxmlformats.org/drawingml/2006/table">
            <a:tbl>
              <a:tblPr firstRow="1" bandRow="1">
                <a:tableStyleId>{A0BC3CC4-8867-4C89-9D3F-A6A6B9ED4035}</a:tableStyleId>
              </a:tblPr>
              <a:tblGrid>
                <a:gridCol w="946137">
                  <a:extLst>
                    <a:ext uri="{9D8B030D-6E8A-4147-A177-3AD203B41FA5}">
                      <a16:colId xmlns:a16="http://schemas.microsoft.com/office/drawing/2014/main" val="3857854049"/>
                    </a:ext>
                  </a:extLst>
                </a:gridCol>
                <a:gridCol w="880187">
                  <a:extLst>
                    <a:ext uri="{9D8B030D-6E8A-4147-A177-3AD203B41FA5}">
                      <a16:colId xmlns:a16="http://schemas.microsoft.com/office/drawing/2014/main" val="3111781915"/>
                    </a:ext>
                  </a:extLst>
                </a:gridCol>
                <a:gridCol w="2670493">
                  <a:extLst>
                    <a:ext uri="{9D8B030D-6E8A-4147-A177-3AD203B41FA5}">
                      <a16:colId xmlns:a16="http://schemas.microsoft.com/office/drawing/2014/main" val="2045306253"/>
                    </a:ext>
                  </a:extLst>
                </a:gridCol>
                <a:gridCol w="7180837">
                  <a:extLst>
                    <a:ext uri="{9D8B030D-6E8A-4147-A177-3AD203B41FA5}">
                      <a16:colId xmlns:a16="http://schemas.microsoft.com/office/drawing/2014/main" val="1584146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fr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to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CH" sz="1800" dirty="0"/>
                        <a:t>Topic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3575576"/>
                  </a:ext>
                </a:extLst>
              </a:tr>
              <a:tr h="535112">
                <a:tc>
                  <a:txBody>
                    <a:bodyPr/>
                    <a:lstStyle/>
                    <a:p>
                      <a:r>
                        <a:rPr lang="en-CH" sz="1800" dirty="0"/>
                        <a:t>0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0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lcome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rse Overview and Lab Setup Instruction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6731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0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0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Basic OCI Security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In-Transit Encryption, Shielded Instances, Key Management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6642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Coffee Break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98917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b="1" dirty="0"/>
                        <a:t>Cloud Gu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Overview, Recipes, CIS Scans, Remediation, Alerts, and Event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6706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Lunch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97129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4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/>
                        <a:t>Data Safe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Overview, Setup, Auditing, Data Masking, Assessments,…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3785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4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Coffee Break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96396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Security Zones / WAF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Overview, Zone Management, Rulesets, and CIS Compliance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9631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6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Wrap-Up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Additional Resources, Next Steps, and Farewell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3188968"/>
                  </a:ext>
                </a:extLst>
              </a:tr>
            </a:tbl>
          </a:graphicData>
        </a:graphic>
      </p:graphicFrame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A4DADE8-AA25-5A9D-096D-4314B067A5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Session Times and Breaks</a:t>
            </a:r>
            <a:endParaRPr lang="en-CH" dirty="0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C478E210-3E7A-9C20-9A19-932E2D9BD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56A8F1B4-0015-1B23-44F9-0F00EAE83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9181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53308-B5F0-E855-16DC-F9D14EAA0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Lab Architecture Overview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2E6CAD-EA6E-7C77-A1C1-CE97DDB0410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B49E0-E761-243B-1D71-E3B3A08A09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High-Level View of the Infrastructure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4C7867-0AE9-C35E-50E1-BE263D1E5A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6B6F66-6759-6F4C-631C-453ADC17E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948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Acc_PPT_IMP_Tmplt_Graphik_Fixed-Accessibility_20220110" id="{C5903050-33F9-3B47-BADC-1229EE1B2C4D}" vid="{58290BE2-F0E8-CC4F-AE12-B5C3653AD733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6BFFC05-B2F6-4CED-BE65-F75B1EB7AD7B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5d757215-fbc3-4533-822f-84ec73f97a40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enture 2020</Template>
  <TotalTime>10509</TotalTime>
  <Words>866</Words>
  <Application>Microsoft Macintosh PowerPoint</Application>
  <PresentationFormat>Widescreen</PresentationFormat>
  <Paragraphs>171</Paragraphs>
  <Slides>13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Arial</vt:lpstr>
      <vt:lpstr>Courier New</vt:lpstr>
      <vt:lpstr>Georgia</vt:lpstr>
      <vt:lpstr>Graphik</vt:lpstr>
      <vt:lpstr>GT Sectra Fine Rg</vt:lpstr>
      <vt:lpstr>Menlo</vt:lpstr>
      <vt:lpstr>Oracle Sans</vt:lpstr>
      <vt:lpstr>Oracle Sans Light</vt:lpstr>
      <vt:lpstr>Oracle Sans Tab</vt:lpstr>
      <vt:lpstr>System Font</vt:lpstr>
      <vt:lpstr>Wingdings</vt:lpstr>
      <vt:lpstr>Accenture 2020</vt:lpstr>
      <vt:lpstr>think-cell Slide</vt:lpstr>
      <vt:lpstr>Oracle Cloud Infrastructure Security</vt:lpstr>
      <vt:lpstr>Martin Berger – Modern Data Platforms</vt:lpstr>
      <vt:lpstr>Stefan Oehrli – Modern Data Platforms</vt:lpstr>
      <vt:lpstr>PowerPoint Presentation</vt:lpstr>
      <vt:lpstr>PowerPoint Presentation</vt:lpstr>
      <vt:lpstr>PowerPoint Presentation</vt:lpstr>
      <vt:lpstr>OCI Security</vt:lpstr>
      <vt:lpstr>Course Schedule</vt:lpstr>
      <vt:lpstr>OCI Lab Architecture Overview</vt:lpstr>
      <vt:lpstr>OCI Access Information</vt:lpstr>
      <vt:lpstr>Thank You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this template</dc:title>
  <dc:subject>Accenture PowerPoint Template 16x9 Graphik</dc:subject>
  <dc:creator>Oehrli, Stefan</dc:creator>
  <cp:lastModifiedBy>Oehrli, Stefan</cp:lastModifiedBy>
  <cp:revision>33</cp:revision>
  <cp:lastPrinted>2020-11-17T04:05:48Z</cp:lastPrinted>
  <dcterms:created xsi:type="dcterms:W3CDTF">2023-04-03T06:37:13Z</dcterms:created>
  <dcterms:modified xsi:type="dcterms:W3CDTF">2024-10-28T13:5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